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7" r:id="rId5"/>
    <p:sldMasterId id="2147483682" r:id="rId6"/>
    <p:sldMasterId id="2147483727" r:id="rId7"/>
    <p:sldMasterId id="2147483737" r:id="rId8"/>
    <p:sldMasterId id="2147483747" r:id="rId9"/>
    <p:sldMasterId id="2147483756" r:id="rId10"/>
    <p:sldMasterId id="2147483765" r:id="rId11"/>
    <p:sldMasterId id="2147483774" r:id="rId12"/>
  </p:sldMasterIdLst>
  <p:notesMasterIdLst>
    <p:notesMasterId r:id="rId39"/>
  </p:notesMasterIdLst>
  <p:sldIdLst>
    <p:sldId id="2147472621" r:id="rId13"/>
    <p:sldId id="2147472776" r:id="rId14"/>
    <p:sldId id="2147472623" r:id="rId15"/>
    <p:sldId id="2147472624" r:id="rId16"/>
    <p:sldId id="2147472625" r:id="rId17"/>
    <p:sldId id="2147472736" r:id="rId18"/>
    <p:sldId id="2147472773" r:id="rId19"/>
    <p:sldId id="2147472604" r:id="rId20"/>
    <p:sldId id="2147472605" r:id="rId21"/>
    <p:sldId id="278" r:id="rId22"/>
    <p:sldId id="2147472607" r:id="rId23"/>
    <p:sldId id="2147472627" r:id="rId24"/>
    <p:sldId id="2147472617" r:id="rId25"/>
    <p:sldId id="2147472609" r:id="rId26"/>
    <p:sldId id="2147472628" r:id="rId27"/>
    <p:sldId id="2147472629" r:id="rId28"/>
    <p:sldId id="2147472630" r:id="rId29"/>
    <p:sldId id="2147472772" r:id="rId30"/>
    <p:sldId id="7280" r:id="rId31"/>
    <p:sldId id="274" r:id="rId32"/>
    <p:sldId id="2147472771" r:id="rId33"/>
    <p:sldId id="277" r:id="rId34"/>
    <p:sldId id="2147472780" r:id="rId35"/>
    <p:sldId id="2147472737" r:id="rId36"/>
    <p:sldId id="2147472778" r:id="rId37"/>
    <p:sldId id="2147472633" r:id="rId3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80837" autoAdjust="0"/>
  </p:normalViewPr>
  <p:slideViewPr>
    <p:cSldViewPr snapToGrid="0">
      <p:cViewPr varScale="1">
        <p:scale>
          <a:sx n="52" d="100"/>
          <a:sy n="52" d="100"/>
        </p:scale>
        <p:origin x="1160" y="56"/>
      </p:cViewPr>
      <p:guideLst/>
    </p:cSldViewPr>
  </p:slideViewPr>
  <p:notesTextViewPr>
    <p:cViewPr>
      <p:scale>
        <a:sx n="1" d="1"/>
        <a:sy n="1" d="1"/>
      </p:scale>
      <p:origin x="0" y="0"/>
    </p:cViewPr>
  </p:notesTextViewPr>
  <p:sorterViewPr>
    <p:cViewPr>
      <p:scale>
        <a:sx n="100" d="100"/>
        <a:sy n="100" d="100"/>
      </p:scale>
      <p:origin x="0" y="-712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E807DA-F886-48E3-803A-374FD74143ED}"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sv-SE"/>
        </a:p>
      </dgm:t>
    </dgm:pt>
    <dgm:pt modelId="{C6962397-E5F0-4A56-9DE1-19D29C794C95}">
      <dgm:prSet phldrT="[Text]"/>
      <dgm:spPr/>
      <dgm:t>
        <a:bodyPr/>
        <a:lstStyle/>
        <a:p>
          <a:r>
            <a:rPr lang="sv-SE" dirty="0"/>
            <a:t>Steg 1 (höst 2022): Omvärldsbevakning samt en fokusgrupp i november</a:t>
          </a:r>
        </a:p>
      </dgm:t>
    </dgm:pt>
    <dgm:pt modelId="{CF185B9D-F12D-4002-B33C-539023FDDA34}" type="parTrans" cxnId="{96177A8A-858E-4745-8BC3-D55CEF857CE3}">
      <dgm:prSet/>
      <dgm:spPr/>
      <dgm:t>
        <a:bodyPr/>
        <a:lstStyle/>
        <a:p>
          <a:endParaRPr lang="sv-SE"/>
        </a:p>
      </dgm:t>
    </dgm:pt>
    <dgm:pt modelId="{31F0399D-13B6-4714-957D-43653C1F7551}" type="sibTrans" cxnId="{96177A8A-858E-4745-8BC3-D55CEF857CE3}">
      <dgm:prSet/>
      <dgm:spPr/>
      <dgm:t>
        <a:bodyPr/>
        <a:lstStyle/>
        <a:p>
          <a:endParaRPr lang="sv-SE" dirty="0"/>
        </a:p>
      </dgm:t>
    </dgm:pt>
    <dgm:pt modelId="{C192432D-5096-494E-BDDE-40BE6727E6B5}">
      <dgm:prSet phldrT="[Text]"/>
      <dgm:spPr/>
      <dgm:t>
        <a:bodyPr/>
        <a:lstStyle/>
        <a:p>
          <a:r>
            <a:rPr lang="sv-SE" dirty="0"/>
            <a:t>Fokusgrupp med socialchefer</a:t>
          </a:r>
          <a:endParaRPr lang="sv-SE" b="1" dirty="0"/>
        </a:p>
      </dgm:t>
    </dgm:pt>
    <dgm:pt modelId="{D64CEDB8-7353-4B80-9140-D42FCC9CEEE5}" type="parTrans" cxnId="{AA979465-4B2F-4937-AD52-506419190579}">
      <dgm:prSet/>
      <dgm:spPr/>
      <dgm:t>
        <a:bodyPr/>
        <a:lstStyle/>
        <a:p>
          <a:endParaRPr lang="sv-SE"/>
        </a:p>
      </dgm:t>
    </dgm:pt>
    <dgm:pt modelId="{08C2E7BF-01CD-4E0F-A824-EF51EBB028A9}" type="sibTrans" cxnId="{AA979465-4B2F-4937-AD52-506419190579}">
      <dgm:prSet/>
      <dgm:spPr/>
      <dgm:t>
        <a:bodyPr/>
        <a:lstStyle/>
        <a:p>
          <a:endParaRPr lang="sv-SE"/>
        </a:p>
      </dgm:t>
    </dgm:pt>
    <dgm:pt modelId="{BD33E774-A8D2-4B14-9DDB-E373BD52CB32}">
      <dgm:prSet phldrT="[Text]"/>
      <dgm:spPr/>
      <dgm:t>
        <a:bodyPr/>
        <a:lstStyle/>
        <a:p>
          <a:r>
            <a:rPr lang="sv-SE" dirty="0"/>
            <a:t>Steg 2 (vår 2023): Fokusgrupper, sammanställ resultat och förankring</a:t>
          </a:r>
        </a:p>
      </dgm:t>
    </dgm:pt>
    <dgm:pt modelId="{EDDE50BA-3C86-4EB6-B399-977BBEB1B894}" type="parTrans" cxnId="{3DFF783A-1629-4070-9C09-6858EF13AF8F}">
      <dgm:prSet/>
      <dgm:spPr/>
      <dgm:t>
        <a:bodyPr/>
        <a:lstStyle/>
        <a:p>
          <a:endParaRPr lang="sv-SE"/>
        </a:p>
      </dgm:t>
    </dgm:pt>
    <dgm:pt modelId="{211D3B81-FE0C-4AC8-B6E1-5627EEA9B2EF}" type="sibTrans" cxnId="{3DFF783A-1629-4070-9C09-6858EF13AF8F}">
      <dgm:prSet/>
      <dgm:spPr/>
      <dgm:t>
        <a:bodyPr/>
        <a:lstStyle/>
        <a:p>
          <a:endParaRPr lang="sv-SE" dirty="0"/>
        </a:p>
      </dgm:t>
    </dgm:pt>
    <dgm:pt modelId="{11736490-689D-44F7-AEFC-02F596950630}">
      <dgm:prSet phldrT="[Text]"/>
      <dgm:spPr/>
      <dgm:t>
        <a:bodyPr/>
        <a:lstStyle/>
        <a:p>
          <a:r>
            <a:rPr lang="sv-SE" dirty="0"/>
            <a:t>Fokusgrupper med första linjen chefer i februari-mars</a:t>
          </a:r>
        </a:p>
      </dgm:t>
    </dgm:pt>
    <dgm:pt modelId="{834FD1DB-FC0A-45B0-8137-B7527925D571}" type="parTrans" cxnId="{699429C9-10A1-4FE7-B17C-891BE5374D69}">
      <dgm:prSet/>
      <dgm:spPr/>
      <dgm:t>
        <a:bodyPr/>
        <a:lstStyle/>
        <a:p>
          <a:endParaRPr lang="sv-SE"/>
        </a:p>
      </dgm:t>
    </dgm:pt>
    <dgm:pt modelId="{EA4FC3FA-42CD-413A-9B4A-9A19289C08A3}" type="sibTrans" cxnId="{699429C9-10A1-4FE7-B17C-891BE5374D69}">
      <dgm:prSet/>
      <dgm:spPr/>
      <dgm:t>
        <a:bodyPr/>
        <a:lstStyle/>
        <a:p>
          <a:endParaRPr lang="sv-SE"/>
        </a:p>
      </dgm:t>
    </dgm:pt>
    <dgm:pt modelId="{5837DB06-03FB-4B6E-9444-4AF215633070}">
      <dgm:prSet phldrT="[Text]"/>
      <dgm:spPr/>
      <dgm:t>
        <a:bodyPr/>
        <a:lstStyle/>
        <a:p>
          <a:r>
            <a:rPr lang="sv-SE" dirty="0"/>
            <a:t>Steg 3 (sommar/höst 2023) Säkerställa resultat, fortsatt förankring och sammanställa resultat </a:t>
          </a:r>
        </a:p>
      </dgm:t>
    </dgm:pt>
    <dgm:pt modelId="{9762D045-24D8-4F87-9368-7E60308B6737}" type="parTrans" cxnId="{FACE25C5-A97B-442C-8CF9-A966E17561C2}">
      <dgm:prSet/>
      <dgm:spPr/>
      <dgm:t>
        <a:bodyPr/>
        <a:lstStyle/>
        <a:p>
          <a:endParaRPr lang="sv-SE"/>
        </a:p>
      </dgm:t>
    </dgm:pt>
    <dgm:pt modelId="{B4E7D59F-E553-43E9-9988-EA255E79D188}" type="sibTrans" cxnId="{FACE25C5-A97B-442C-8CF9-A966E17561C2}">
      <dgm:prSet/>
      <dgm:spPr/>
      <dgm:t>
        <a:bodyPr/>
        <a:lstStyle/>
        <a:p>
          <a:endParaRPr lang="sv-SE"/>
        </a:p>
      </dgm:t>
    </dgm:pt>
    <dgm:pt modelId="{AED7EE05-6562-4135-AD4F-06CC8EFA70F9}">
      <dgm:prSet phldrT="[Text]" custT="1"/>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dirty="0"/>
            <a:t> Fortsatt förankring och dialog: Vad vill SKR göra med resultatet? Kan vi göra någonting tillsammans med externa aktörer?</a:t>
          </a:r>
          <a:endParaRPr lang="sv-SE" sz="1000" kern="1200" dirty="0">
            <a:highlight>
              <a:srgbClr val="FFFF00"/>
            </a:highlight>
          </a:endParaRPr>
        </a:p>
      </dgm:t>
    </dgm:pt>
    <dgm:pt modelId="{BED81196-14F5-4FDE-8775-82E2410211ED}" type="parTrans" cxnId="{11BAEF8B-1423-4FEB-81C6-ACDF145DB90B}">
      <dgm:prSet/>
      <dgm:spPr/>
      <dgm:t>
        <a:bodyPr/>
        <a:lstStyle/>
        <a:p>
          <a:endParaRPr lang="sv-SE"/>
        </a:p>
      </dgm:t>
    </dgm:pt>
    <dgm:pt modelId="{25308F6E-AE8D-4C99-80A3-57016ED2FBAA}" type="sibTrans" cxnId="{11BAEF8B-1423-4FEB-81C6-ACDF145DB90B}">
      <dgm:prSet/>
      <dgm:spPr/>
      <dgm:t>
        <a:bodyPr/>
        <a:lstStyle/>
        <a:p>
          <a:endParaRPr lang="sv-SE"/>
        </a:p>
      </dgm:t>
    </dgm:pt>
    <dgm:pt modelId="{1B4B7529-8FA3-427B-B359-68EF343C9944}">
      <dgm:prSet phldrT="[Text]"/>
      <dgm:spPr/>
      <dgm:t>
        <a:bodyPr/>
        <a:lstStyle/>
        <a:p>
          <a:r>
            <a:rPr lang="sv-SE" dirty="0"/>
            <a:t>Leda till rätt frågeställningar i den kommande undersökningen</a:t>
          </a:r>
        </a:p>
      </dgm:t>
    </dgm:pt>
    <dgm:pt modelId="{5C4A67DC-6D60-4400-8F36-E2FB5375043D}" type="parTrans" cxnId="{B4415378-02EB-4C00-B7DA-629EEAB404AA}">
      <dgm:prSet/>
      <dgm:spPr/>
      <dgm:t>
        <a:bodyPr/>
        <a:lstStyle/>
        <a:p>
          <a:endParaRPr lang="sv-SE"/>
        </a:p>
      </dgm:t>
    </dgm:pt>
    <dgm:pt modelId="{4B92E705-87CD-4EA4-B7D7-199E7E13EF03}" type="sibTrans" cxnId="{B4415378-02EB-4C00-B7DA-629EEAB404AA}">
      <dgm:prSet/>
      <dgm:spPr/>
      <dgm:t>
        <a:bodyPr/>
        <a:lstStyle/>
        <a:p>
          <a:endParaRPr lang="sv-SE"/>
        </a:p>
      </dgm:t>
    </dgm:pt>
    <dgm:pt modelId="{BB961000-8744-4599-806A-51ADF1FAD9AD}">
      <dgm:prSet phldrT="[Text]"/>
      <dgm:spPr/>
      <dgm:t>
        <a:bodyPr/>
        <a:lstStyle/>
        <a:p>
          <a:pPr>
            <a:buFont typeface="Arial" panose="020B0604020202020204" pitchFamily="34" charset="0"/>
            <a:buChar char="•"/>
          </a:pPr>
          <a:r>
            <a:rPr lang="sv-SE" dirty="0"/>
            <a:t>Presentera resultaten från fokusgrupperna med olika interna nätverk för att systematiskt stämma av resultaten</a:t>
          </a:r>
        </a:p>
      </dgm:t>
    </dgm:pt>
    <dgm:pt modelId="{E61F20FE-2419-4459-8408-8D91C8E249CA}" type="parTrans" cxnId="{E4628450-6911-4EA9-875E-4D28A57F5573}">
      <dgm:prSet/>
      <dgm:spPr/>
      <dgm:t>
        <a:bodyPr/>
        <a:lstStyle/>
        <a:p>
          <a:endParaRPr lang="sv-SE"/>
        </a:p>
      </dgm:t>
    </dgm:pt>
    <dgm:pt modelId="{8A0D937B-06E4-4541-8D65-56E6CC3E2780}" type="sibTrans" cxnId="{E4628450-6911-4EA9-875E-4D28A57F5573}">
      <dgm:prSet/>
      <dgm:spPr/>
      <dgm:t>
        <a:bodyPr/>
        <a:lstStyle/>
        <a:p>
          <a:endParaRPr lang="sv-SE"/>
        </a:p>
      </dgm:t>
    </dgm:pt>
    <dgm:pt modelId="{7402642C-B49E-4935-B71F-574132B56C5D}">
      <dgm:prSet phldrT="[Text]"/>
      <dgm:spPr/>
      <dgm:t>
        <a:bodyPr/>
        <a:lstStyle/>
        <a:p>
          <a:r>
            <a:rPr lang="sv-SE" dirty="0"/>
            <a:t>Sammanställ resultat från fokusgrupper</a:t>
          </a:r>
        </a:p>
      </dgm:t>
    </dgm:pt>
    <dgm:pt modelId="{B2405728-E992-4DEE-BC9D-C482318F1A92}" type="parTrans" cxnId="{FC22A0DD-7A8E-491C-88BF-5C5DCD646596}">
      <dgm:prSet/>
      <dgm:spPr/>
      <dgm:t>
        <a:bodyPr/>
        <a:lstStyle/>
        <a:p>
          <a:endParaRPr lang="sv-SE"/>
        </a:p>
      </dgm:t>
    </dgm:pt>
    <dgm:pt modelId="{01C71BE2-F740-4E22-ABD6-D734673004E6}" type="sibTrans" cxnId="{FC22A0DD-7A8E-491C-88BF-5C5DCD646596}">
      <dgm:prSet/>
      <dgm:spPr/>
      <dgm:t>
        <a:bodyPr/>
        <a:lstStyle/>
        <a:p>
          <a:endParaRPr lang="sv-SE"/>
        </a:p>
      </dgm:t>
    </dgm:pt>
    <dgm:pt modelId="{3950368D-161C-4E30-85A5-3D251DC9721D}">
      <dgm:prSet phldrT="[Text]"/>
      <dgm:spPr/>
      <dgm:t>
        <a:bodyPr/>
        <a:lstStyle/>
        <a:p>
          <a:r>
            <a:rPr lang="sv-SE" dirty="0"/>
            <a:t>Syfte: hitta ”problemområden”</a:t>
          </a:r>
          <a:endParaRPr lang="sv-SE" b="1" dirty="0"/>
        </a:p>
      </dgm:t>
    </dgm:pt>
    <dgm:pt modelId="{CCAFACA8-01C3-44D6-81A6-A77FBE094169}" type="parTrans" cxnId="{C6BC4B5B-0DAC-4635-98C8-0AC471D8D433}">
      <dgm:prSet/>
      <dgm:spPr/>
      <dgm:t>
        <a:bodyPr/>
        <a:lstStyle/>
        <a:p>
          <a:endParaRPr lang="sv-SE"/>
        </a:p>
      </dgm:t>
    </dgm:pt>
    <dgm:pt modelId="{B0660C9F-86DE-40D9-8BCF-6ACDD4DEC28C}" type="sibTrans" cxnId="{C6BC4B5B-0DAC-4635-98C8-0AC471D8D433}">
      <dgm:prSet/>
      <dgm:spPr/>
      <dgm:t>
        <a:bodyPr/>
        <a:lstStyle/>
        <a:p>
          <a:endParaRPr lang="sv-SE"/>
        </a:p>
      </dgm:t>
    </dgm:pt>
    <dgm:pt modelId="{E42B6BB2-EB6F-4D70-B098-E8CB1EE6954E}">
      <dgm:prSet phldrT="[Text]"/>
      <dgm:spPr/>
      <dgm:t>
        <a:bodyPr/>
        <a:lstStyle/>
        <a:p>
          <a:r>
            <a:rPr lang="sv-SE" dirty="0"/>
            <a:t>Omvärldsbevaka</a:t>
          </a:r>
        </a:p>
      </dgm:t>
    </dgm:pt>
    <dgm:pt modelId="{BAFA2D95-3AB7-4326-91BD-B7D58047F0DF}" type="parTrans" cxnId="{CFB53E56-9935-4406-A4E0-0EE5BB7E12CF}">
      <dgm:prSet/>
      <dgm:spPr/>
      <dgm:t>
        <a:bodyPr/>
        <a:lstStyle/>
        <a:p>
          <a:endParaRPr lang="sv-SE"/>
        </a:p>
      </dgm:t>
    </dgm:pt>
    <dgm:pt modelId="{71F626BB-D642-47AD-B4D0-30262E72F4AF}" type="sibTrans" cxnId="{CFB53E56-9935-4406-A4E0-0EE5BB7E12CF}">
      <dgm:prSet/>
      <dgm:spPr/>
      <dgm:t>
        <a:bodyPr/>
        <a:lstStyle/>
        <a:p>
          <a:endParaRPr lang="sv-SE"/>
        </a:p>
      </dgm:t>
    </dgm:pt>
    <dgm:pt modelId="{FE432F18-45DD-4FEA-8017-58FDC138364F}">
      <dgm:prSet phldrT="[Text]"/>
      <dgm:spPr/>
      <dgm:t>
        <a:bodyPr/>
        <a:lstStyle/>
        <a:p>
          <a:pPr>
            <a:buFont typeface="Arial" panose="020B0604020202020204" pitchFamily="34" charset="0"/>
            <a:buChar char="•"/>
          </a:pPr>
          <a:r>
            <a:rPr lang="sv-SE" dirty="0"/>
            <a:t>Dialog med externa aktörer (FSSOC, SSR m fl)</a:t>
          </a:r>
        </a:p>
      </dgm:t>
    </dgm:pt>
    <dgm:pt modelId="{8DAA32D8-D045-44F2-9D92-0DD9C37C5D62}" type="parTrans" cxnId="{98B4F127-84FA-4E2F-972C-BFB9350889F3}">
      <dgm:prSet/>
      <dgm:spPr/>
      <dgm:t>
        <a:bodyPr/>
        <a:lstStyle/>
        <a:p>
          <a:endParaRPr lang="sv-SE"/>
        </a:p>
      </dgm:t>
    </dgm:pt>
    <dgm:pt modelId="{51CB9895-68D6-4C3A-B7AE-9391AEF275D0}" type="sibTrans" cxnId="{98B4F127-84FA-4E2F-972C-BFB9350889F3}">
      <dgm:prSet/>
      <dgm:spPr/>
      <dgm:t>
        <a:bodyPr/>
        <a:lstStyle/>
        <a:p>
          <a:endParaRPr lang="sv-SE"/>
        </a:p>
      </dgm:t>
    </dgm:pt>
    <dgm:pt modelId="{53CC2D07-AD7A-4A5A-A3AE-10679C127BA9}">
      <dgm:prSet phldrT="[Text]"/>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dirty="0"/>
            <a:t> Förankra med beredningar och AU</a:t>
          </a:r>
        </a:p>
      </dgm:t>
    </dgm:pt>
    <dgm:pt modelId="{AFC0D680-204F-427F-BB81-78A7AC32F827}" type="parTrans" cxnId="{8CDEE226-0E1B-4783-959F-C5433ABE3688}">
      <dgm:prSet/>
      <dgm:spPr/>
      <dgm:t>
        <a:bodyPr/>
        <a:lstStyle/>
        <a:p>
          <a:endParaRPr lang="sv-SE"/>
        </a:p>
      </dgm:t>
    </dgm:pt>
    <dgm:pt modelId="{0ABD53A0-F35F-4691-85DB-33DEF2380A16}" type="sibTrans" cxnId="{8CDEE226-0E1B-4783-959F-C5433ABE3688}">
      <dgm:prSet/>
      <dgm:spPr/>
      <dgm:t>
        <a:bodyPr/>
        <a:lstStyle/>
        <a:p>
          <a:endParaRPr lang="sv-SE"/>
        </a:p>
      </dgm:t>
    </dgm:pt>
    <dgm:pt modelId="{D964F382-E455-4A38-9908-C689DD9A3825}">
      <dgm:prSet phldrT="[Text]"/>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dirty="0"/>
            <a:t> Färdigställa rapport</a:t>
          </a:r>
        </a:p>
      </dgm:t>
    </dgm:pt>
    <dgm:pt modelId="{C0703297-D1D1-45D8-8101-B0D175F8BF2C}" type="parTrans" cxnId="{7D1BDF98-01EA-4A66-8128-010EE57219F6}">
      <dgm:prSet/>
      <dgm:spPr/>
      <dgm:t>
        <a:bodyPr/>
        <a:lstStyle/>
        <a:p>
          <a:endParaRPr lang="sv-SE"/>
        </a:p>
      </dgm:t>
    </dgm:pt>
    <dgm:pt modelId="{E5655C1F-1A05-491C-BD37-49DEBE26EC46}" type="sibTrans" cxnId="{7D1BDF98-01EA-4A66-8128-010EE57219F6}">
      <dgm:prSet/>
      <dgm:spPr/>
      <dgm:t>
        <a:bodyPr/>
        <a:lstStyle/>
        <a:p>
          <a:endParaRPr lang="sv-SE"/>
        </a:p>
      </dgm:t>
    </dgm:pt>
    <dgm:pt modelId="{6553F3AC-0E74-4FFE-93A8-3E2FD628C0CF}">
      <dgm:prSet phldrT="[Text]"/>
      <dgm:spPr/>
      <dgm:t>
        <a:bodyP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000" kern="1200" dirty="0"/>
            <a:t> Slutsatser från arbetet ska ligga till grund för påverkansarbete</a:t>
          </a:r>
        </a:p>
      </dgm:t>
    </dgm:pt>
    <dgm:pt modelId="{02E5FACF-9C87-4F9B-AE92-36DE4DD0EBE2}" type="parTrans" cxnId="{9D95FFEB-E2C7-4813-9263-2028DE74FE2A}">
      <dgm:prSet/>
      <dgm:spPr/>
      <dgm:t>
        <a:bodyPr/>
        <a:lstStyle/>
        <a:p>
          <a:endParaRPr lang="sv-SE"/>
        </a:p>
      </dgm:t>
    </dgm:pt>
    <dgm:pt modelId="{31410E1D-28DC-462B-828D-ED137D4F058C}" type="sibTrans" cxnId="{9D95FFEB-E2C7-4813-9263-2028DE74FE2A}">
      <dgm:prSet/>
      <dgm:spPr/>
      <dgm:t>
        <a:bodyPr/>
        <a:lstStyle/>
        <a:p>
          <a:endParaRPr lang="sv-SE"/>
        </a:p>
      </dgm:t>
    </dgm:pt>
    <dgm:pt modelId="{52513BAE-811E-4C38-9143-3F15140E298B}" type="pres">
      <dgm:prSet presAssocID="{37E807DA-F886-48E3-803A-374FD74143ED}" presName="linearFlow" presStyleCnt="0">
        <dgm:presLayoutVars>
          <dgm:dir/>
          <dgm:animLvl val="lvl"/>
          <dgm:resizeHandles val="exact"/>
        </dgm:presLayoutVars>
      </dgm:prSet>
      <dgm:spPr/>
      <dgm:t>
        <a:bodyPr/>
        <a:lstStyle/>
        <a:p>
          <a:endParaRPr lang="sv-SE"/>
        </a:p>
      </dgm:t>
    </dgm:pt>
    <dgm:pt modelId="{FF1A0346-BFCC-4E29-BEE8-CDE0ABCC078C}" type="pres">
      <dgm:prSet presAssocID="{C6962397-E5F0-4A56-9DE1-19D29C794C95}" presName="composite" presStyleCnt="0"/>
      <dgm:spPr/>
    </dgm:pt>
    <dgm:pt modelId="{D9460F83-5D23-4CA8-82A7-494D8BD1015F}" type="pres">
      <dgm:prSet presAssocID="{C6962397-E5F0-4A56-9DE1-19D29C794C95}" presName="parTx" presStyleLbl="node1" presStyleIdx="0" presStyleCnt="3">
        <dgm:presLayoutVars>
          <dgm:chMax val="0"/>
          <dgm:chPref val="0"/>
          <dgm:bulletEnabled val="1"/>
        </dgm:presLayoutVars>
      </dgm:prSet>
      <dgm:spPr/>
      <dgm:t>
        <a:bodyPr/>
        <a:lstStyle/>
        <a:p>
          <a:endParaRPr lang="sv-SE"/>
        </a:p>
      </dgm:t>
    </dgm:pt>
    <dgm:pt modelId="{6172A69D-3258-4A05-84AF-1B3B43C423D7}" type="pres">
      <dgm:prSet presAssocID="{C6962397-E5F0-4A56-9DE1-19D29C794C95}" presName="parSh" presStyleLbl="node1" presStyleIdx="0" presStyleCnt="3" custScaleX="108312" custScaleY="100000"/>
      <dgm:spPr/>
      <dgm:t>
        <a:bodyPr/>
        <a:lstStyle/>
        <a:p>
          <a:endParaRPr lang="sv-SE"/>
        </a:p>
      </dgm:t>
    </dgm:pt>
    <dgm:pt modelId="{F3339C20-3B7B-45B1-832E-0B8EF0604C2C}" type="pres">
      <dgm:prSet presAssocID="{C6962397-E5F0-4A56-9DE1-19D29C794C95}" presName="desTx" presStyleLbl="fgAcc1" presStyleIdx="0" presStyleCnt="3" custScaleX="99279" custScaleY="40906" custLinFactNeighborX="-3658" custLinFactNeighborY="-36422">
        <dgm:presLayoutVars>
          <dgm:bulletEnabled val="1"/>
        </dgm:presLayoutVars>
      </dgm:prSet>
      <dgm:spPr/>
      <dgm:t>
        <a:bodyPr/>
        <a:lstStyle/>
        <a:p>
          <a:endParaRPr lang="sv-SE"/>
        </a:p>
      </dgm:t>
    </dgm:pt>
    <dgm:pt modelId="{BFD2CF9F-A501-4E9A-BD3D-972616DE698F}" type="pres">
      <dgm:prSet presAssocID="{31F0399D-13B6-4714-957D-43653C1F7551}" presName="sibTrans" presStyleLbl="sibTrans2D1" presStyleIdx="0" presStyleCnt="2"/>
      <dgm:spPr/>
      <dgm:t>
        <a:bodyPr/>
        <a:lstStyle/>
        <a:p>
          <a:endParaRPr lang="sv-SE"/>
        </a:p>
      </dgm:t>
    </dgm:pt>
    <dgm:pt modelId="{5C4F7EF1-54C1-4FCF-93DF-F658001E78D9}" type="pres">
      <dgm:prSet presAssocID="{31F0399D-13B6-4714-957D-43653C1F7551}" presName="connTx" presStyleLbl="sibTrans2D1" presStyleIdx="0" presStyleCnt="2"/>
      <dgm:spPr/>
      <dgm:t>
        <a:bodyPr/>
        <a:lstStyle/>
        <a:p>
          <a:endParaRPr lang="sv-SE"/>
        </a:p>
      </dgm:t>
    </dgm:pt>
    <dgm:pt modelId="{6CFAD4B8-13EC-4853-A4C7-5EF503899975}" type="pres">
      <dgm:prSet presAssocID="{BD33E774-A8D2-4B14-9DDB-E373BD52CB32}" presName="composite" presStyleCnt="0"/>
      <dgm:spPr/>
    </dgm:pt>
    <dgm:pt modelId="{E590068B-DE09-467C-B2A2-3317C73AE892}" type="pres">
      <dgm:prSet presAssocID="{BD33E774-A8D2-4B14-9DDB-E373BD52CB32}" presName="parTx" presStyleLbl="node1" presStyleIdx="0" presStyleCnt="3">
        <dgm:presLayoutVars>
          <dgm:chMax val="0"/>
          <dgm:chPref val="0"/>
          <dgm:bulletEnabled val="1"/>
        </dgm:presLayoutVars>
      </dgm:prSet>
      <dgm:spPr/>
      <dgm:t>
        <a:bodyPr/>
        <a:lstStyle/>
        <a:p>
          <a:endParaRPr lang="sv-SE"/>
        </a:p>
      </dgm:t>
    </dgm:pt>
    <dgm:pt modelId="{249F6796-9C2B-4B3A-91C0-6281D7E4624C}" type="pres">
      <dgm:prSet presAssocID="{BD33E774-A8D2-4B14-9DDB-E373BD52CB32}" presName="parSh" presStyleLbl="node1" presStyleIdx="1" presStyleCnt="3" custLinFactNeighborX="1522" custLinFactNeighborY="18635"/>
      <dgm:spPr/>
      <dgm:t>
        <a:bodyPr/>
        <a:lstStyle/>
        <a:p>
          <a:endParaRPr lang="sv-SE"/>
        </a:p>
      </dgm:t>
    </dgm:pt>
    <dgm:pt modelId="{84535F99-4F15-4790-9FA6-E6424AF426AD}" type="pres">
      <dgm:prSet presAssocID="{BD33E774-A8D2-4B14-9DDB-E373BD52CB32}" presName="desTx" presStyleLbl="fgAcc1" presStyleIdx="1" presStyleCnt="3" custScaleX="99597" custScaleY="62619" custLinFactNeighborX="-7694" custLinFactNeighborY="-21032">
        <dgm:presLayoutVars>
          <dgm:bulletEnabled val="1"/>
        </dgm:presLayoutVars>
      </dgm:prSet>
      <dgm:spPr/>
      <dgm:t>
        <a:bodyPr/>
        <a:lstStyle/>
        <a:p>
          <a:endParaRPr lang="sv-SE"/>
        </a:p>
      </dgm:t>
    </dgm:pt>
    <dgm:pt modelId="{781490B4-706D-4344-BAF1-E5CB5B5A78AF}" type="pres">
      <dgm:prSet presAssocID="{211D3B81-FE0C-4AC8-B6E1-5627EEA9B2EF}" presName="sibTrans" presStyleLbl="sibTrans2D1" presStyleIdx="1" presStyleCnt="2"/>
      <dgm:spPr/>
      <dgm:t>
        <a:bodyPr/>
        <a:lstStyle/>
        <a:p>
          <a:endParaRPr lang="sv-SE"/>
        </a:p>
      </dgm:t>
    </dgm:pt>
    <dgm:pt modelId="{51C8E52C-C9AD-46DA-AAE1-57E013630A42}" type="pres">
      <dgm:prSet presAssocID="{211D3B81-FE0C-4AC8-B6E1-5627EEA9B2EF}" presName="connTx" presStyleLbl="sibTrans2D1" presStyleIdx="1" presStyleCnt="2"/>
      <dgm:spPr/>
      <dgm:t>
        <a:bodyPr/>
        <a:lstStyle/>
        <a:p>
          <a:endParaRPr lang="sv-SE"/>
        </a:p>
      </dgm:t>
    </dgm:pt>
    <dgm:pt modelId="{995C51FB-A324-4F68-B27B-2DF2F84BB273}" type="pres">
      <dgm:prSet presAssocID="{5837DB06-03FB-4B6E-9444-4AF215633070}" presName="composite" presStyleCnt="0"/>
      <dgm:spPr/>
    </dgm:pt>
    <dgm:pt modelId="{E7091AB7-2FB3-47E7-A346-F70F387A87CD}" type="pres">
      <dgm:prSet presAssocID="{5837DB06-03FB-4B6E-9444-4AF215633070}" presName="parTx" presStyleLbl="node1" presStyleIdx="1" presStyleCnt="3">
        <dgm:presLayoutVars>
          <dgm:chMax val="0"/>
          <dgm:chPref val="0"/>
          <dgm:bulletEnabled val="1"/>
        </dgm:presLayoutVars>
      </dgm:prSet>
      <dgm:spPr/>
      <dgm:t>
        <a:bodyPr/>
        <a:lstStyle/>
        <a:p>
          <a:endParaRPr lang="sv-SE"/>
        </a:p>
      </dgm:t>
    </dgm:pt>
    <dgm:pt modelId="{2924703E-F430-4A3F-AE93-6A380B2BF6A0}" type="pres">
      <dgm:prSet presAssocID="{5837DB06-03FB-4B6E-9444-4AF215633070}" presName="parSh" presStyleLbl="node1" presStyleIdx="2" presStyleCnt="3" custLinFactNeighborX="3487" custLinFactNeighborY="13674"/>
      <dgm:spPr/>
      <dgm:t>
        <a:bodyPr/>
        <a:lstStyle/>
        <a:p>
          <a:endParaRPr lang="sv-SE"/>
        </a:p>
      </dgm:t>
    </dgm:pt>
    <dgm:pt modelId="{3BD10A37-765E-4917-B72B-805B948D1B76}" type="pres">
      <dgm:prSet presAssocID="{5837DB06-03FB-4B6E-9444-4AF215633070}" presName="desTx" presStyleLbl="fgAcc1" presStyleIdx="2" presStyleCnt="3" custScaleX="100395" custScaleY="58392" custLinFactNeighborX="323" custLinFactNeighborY="-18181">
        <dgm:presLayoutVars>
          <dgm:bulletEnabled val="1"/>
        </dgm:presLayoutVars>
      </dgm:prSet>
      <dgm:spPr/>
      <dgm:t>
        <a:bodyPr/>
        <a:lstStyle/>
        <a:p>
          <a:endParaRPr lang="sv-SE"/>
        </a:p>
      </dgm:t>
    </dgm:pt>
  </dgm:ptLst>
  <dgm:cxnLst>
    <dgm:cxn modelId="{4EFF6634-3F3C-4BBE-A502-A6EAA26AA009}" type="presOf" srcId="{31F0399D-13B6-4714-957D-43653C1F7551}" destId="{5C4F7EF1-54C1-4FCF-93DF-F658001E78D9}" srcOrd="1" destOrd="0" presId="urn:microsoft.com/office/officeart/2005/8/layout/process3"/>
    <dgm:cxn modelId="{B110C213-1667-4DA8-9CB7-BFDAFBCB3A29}" type="presOf" srcId="{37E807DA-F886-48E3-803A-374FD74143ED}" destId="{52513BAE-811E-4C38-9143-3F15140E298B}" srcOrd="0" destOrd="0" presId="urn:microsoft.com/office/officeart/2005/8/layout/process3"/>
    <dgm:cxn modelId="{3DFF783A-1629-4070-9C09-6858EF13AF8F}" srcId="{37E807DA-F886-48E3-803A-374FD74143ED}" destId="{BD33E774-A8D2-4B14-9DDB-E373BD52CB32}" srcOrd="1" destOrd="0" parTransId="{EDDE50BA-3C86-4EB6-B399-977BBEB1B894}" sibTransId="{211D3B81-FE0C-4AC8-B6E1-5627EEA9B2EF}"/>
    <dgm:cxn modelId="{043507A7-29E6-4D2C-A3FF-FFCBAAFB0E83}" type="presOf" srcId="{31F0399D-13B6-4714-957D-43653C1F7551}" destId="{BFD2CF9F-A501-4E9A-BD3D-972616DE698F}" srcOrd="0" destOrd="0" presId="urn:microsoft.com/office/officeart/2005/8/layout/process3"/>
    <dgm:cxn modelId="{5B184E6B-C38A-4836-B2E4-399A4729979F}" type="presOf" srcId="{C192432D-5096-494E-BDDE-40BE6727E6B5}" destId="{F3339C20-3B7B-45B1-832E-0B8EF0604C2C}" srcOrd="0" destOrd="0" presId="urn:microsoft.com/office/officeart/2005/8/layout/process3"/>
    <dgm:cxn modelId="{FACE25C5-A97B-442C-8CF9-A966E17561C2}" srcId="{37E807DA-F886-48E3-803A-374FD74143ED}" destId="{5837DB06-03FB-4B6E-9444-4AF215633070}" srcOrd="2" destOrd="0" parTransId="{9762D045-24D8-4F87-9368-7E60308B6737}" sibTransId="{B4E7D59F-E553-43E9-9988-EA255E79D188}"/>
    <dgm:cxn modelId="{8CDEE226-0E1B-4783-959F-C5433ABE3688}" srcId="{5837DB06-03FB-4B6E-9444-4AF215633070}" destId="{53CC2D07-AD7A-4A5A-A3AE-10679C127BA9}" srcOrd="2" destOrd="0" parTransId="{AFC0D680-204F-427F-BB81-78A7AC32F827}" sibTransId="{0ABD53A0-F35F-4691-85DB-33DEF2380A16}"/>
    <dgm:cxn modelId="{3B6F024D-629F-4369-B812-B11417EB0332}" type="presOf" srcId="{AED7EE05-6562-4135-AD4F-06CC8EFA70F9}" destId="{3BD10A37-765E-4917-B72B-805B948D1B76}" srcOrd="0" destOrd="0" presId="urn:microsoft.com/office/officeart/2005/8/layout/process3"/>
    <dgm:cxn modelId="{958522E7-5B77-42B1-94DE-4974198E2DC6}" type="presOf" srcId="{53CC2D07-AD7A-4A5A-A3AE-10679C127BA9}" destId="{3BD10A37-765E-4917-B72B-805B948D1B76}" srcOrd="0" destOrd="2" presId="urn:microsoft.com/office/officeart/2005/8/layout/process3"/>
    <dgm:cxn modelId="{556640C2-B779-4FA7-A2D4-7CB96D3084EA}" type="presOf" srcId="{C6962397-E5F0-4A56-9DE1-19D29C794C95}" destId="{6172A69D-3258-4A05-84AF-1B3B43C423D7}" srcOrd="1" destOrd="0" presId="urn:microsoft.com/office/officeart/2005/8/layout/process3"/>
    <dgm:cxn modelId="{71475F1D-3F95-43CC-8592-57C90D826197}" type="presOf" srcId="{11736490-689D-44F7-AEFC-02F596950630}" destId="{84535F99-4F15-4790-9FA6-E6424AF426AD}" srcOrd="0" destOrd="0" presId="urn:microsoft.com/office/officeart/2005/8/layout/process3"/>
    <dgm:cxn modelId="{9E91B758-3969-497D-A8A0-FE3C790DA923}" type="presOf" srcId="{5837DB06-03FB-4B6E-9444-4AF215633070}" destId="{2924703E-F430-4A3F-AE93-6A380B2BF6A0}" srcOrd="1" destOrd="0" presId="urn:microsoft.com/office/officeart/2005/8/layout/process3"/>
    <dgm:cxn modelId="{D8BDFCE4-88BC-43F0-B959-C6A18C7C0800}" type="presOf" srcId="{C6962397-E5F0-4A56-9DE1-19D29C794C95}" destId="{D9460F83-5D23-4CA8-82A7-494D8BD1015F}" srcOrd="0" destOrd="0" presId="urn:microsoft.com/office/officeart/2005/8/layout/process3"/>
    <dgm:cxn modelId="{98B4F127-84FA-4E2F-972C-BFB9350889F3}" srcId="{BD33E774-A8D2-4B14-9DDB-E373BD52CB32}" destId="{FE432F18-45DD-4FEA-8017-58FDC138364F}" srcOrd="3" destOrd="0" parTransId="{8DAA32D8-D045-44F2-9D92-0DD9C37C5D62}" sibTransId="{51CB9895-68D6-4C3A-B7AE-9391AEF275D0}"/>
    <dgm:cxn modelId="{9D95FFEB-E2C7-4813-9263-2028DE74FE2A}" srcId="{5837DB06-03FB-4B6E-9444-4AF215633070}" destId="{6553F3AC-0E74-4FFE-93A8-3E2FD628C0CF}" srcOrd="3" destOrd="0" parTransId="{02E5FACF-9C87-4F9B-AE92-36DE4DD0EBE2}" sibTransId="{31410E1D-28DC-462B-828D-ED137D4F058C}"/>
    <dgm:cxn modelId="{AA979465-4B2F-4937-AD52-506419190579}" srcId="{C6962397-E5F0-4A56-9DE1-19D29C794C95}" destId="{C192432D-5096-494E-BDDE-40BE6727E6B5}" srcOrd="0" destOrd="0" parTransId="{D64CEDB8-7353-4B80-9140-D42FCC9CEEE5}" sibTransId="{08C2E7BF-01CD-4E0F-A824-EF51EBB028A9}"/>
    <dgm:cxn modelId="{FC22A0DD-7A8E-491C-88BF-5C5DCD646596}" srcId="{BD33E774-A8D2-4B14-9DDB-E373BD52CB32}" destId="{7402642C-B49E-4935-B71F-574132B56C5D}" srcOrd="1" destOrd="0" parTransId="{B2405728-E992-4DEE-BC9D-C482318F1A92}" sibTransId="{01C71BE2-F740-4E22-ABD6-D734673004E6}"/>
    <dgm:cxn modelId="{96177A8A-858E-4745-8BC3-D55CEF857CE3}" srcId="{37E807DA-F886-48E3-803A-374FD74143ED}" destId="{C6962397-E5F0-4A56-9DE1-19D29C794C95}" srcOrd="0" destOrd="0" parTransId="{CF185B9D-F12D-4002-B33C-539023FDDA34}" sibTransId="{31F0399D-13B6-4714-957D-43653C1F7551}"/>
    <dgm:cxn modelId="{EF26CDA7-E801-44BF-B1A4-DF91CF370F13}" type="presOf" srcId="{211D3B81-FE0C-4AC8-B6E1-5627EEA9B2EF}" destId="{781490B4-706D-4344-BAF1-E5CB5B5A78AF}" srcOrd="0" destOrd="0" presId="urn:microsoft.com/office/officeart/2005/8/layout/process3"/>
    <dgm:cxn modelId="{C6BC4B5B-0DAC-4635-98C8-0AC471D8D433}" srcId="{C6962397-E5F0-4A56-9DE1-19D29C794C95}" destId="{3950368D-161C-4E30-85A5-3D251DC9721D}" srcOrd="1" destOrd="0" parTransId="{CCAFACA8-01C3-44D6-81A6-A77FBE094169}" sibTransId="{B0660C9F-86DE-40D9-8BCF-6ACDD4DEC28C}"/>
    <dgm:cxn modelId="{A1BD8139-F0CA-44A0-9835-2BF1370AFC78}" type="presOf" srcId="{FE432F18-45DD-4FEA-8017-58FDC138364F}" destId="{84535F99-4F15-4790-9FA6-E6424AF426AD}" srcOrd="0" destOrd="3" presId="urn:microsoft.com/office/officeart/2005/8/layout/process3"/>
    <dgm:cxn modelId="{11BAEF8B-1423-4FEB-81C6-ACDF145DB90B}" srcId="{5837DB06-03FB-4B6E-9444-4AF215633070}" destId="{AED7EE05-6562-4135-AD4F-06CC8EFA70F9}" srcOrd="0" destOrd="0" parTransId="{BED81196-14F5-4FDE-8775-82E2410211ED}" sibTransId="{25308F6E-AE8D-4C99-80A3-57016ED2FBAA}"/>
    <dgm:cxn modelId="{7D1BDF98-01EA-4A66-8128-010EE57219F6}" srcId="{5837DB06-03FB-4B6E-9444-4AF215633070}" destId="{D964F382-E455-4A38-9908-C689DD9A3825}" srcOrd="1" destOrd="0" parTransId="{C0703297-D1D1-45D8-8101-B0D175F8BF2C}" sibTransId="{E5655C1F-1A05-491C-BD37-49DEBE26EC46}"/>
    <dgm:cxn modelId="{F2211030-5BF5-4953-B996-5470C5D11FD8}" type="presOf" srcId="{7402642C-B49E-4935-B71F-574132B56C5D}" destId="{84535F99-4F15-4790-9FA6-E6424AF426AD}" srcOrd="0" destOrd="1" presId="urn:microsoft.com/office/officeart/2005/8/layout/process3"/>
    <dgm:cxn modelId="{E4628450-6911-4EA9-875E-4D28A57F5573}" srcId="{BD33E774-A8D2-4B14-9DDB-E373BD52CB32}" destId="{BB961000-8744-4599-806A-51ADF1FAD9AD}" srcOrd="2" destOrd="0" parTransId="{E61F20FE-2419-4459-8408-8D91C8E249CA}" sibTransId="{8A0D937B-06E4-4541-8D65-56E6CC3E2780}"/>
    <dgm:cxn modelId="{CFB53E56-9935-4406-A4E0-0EE5BB7E12CF}" srcId="{C6962397-E5F0-4A56-9DE1-19D29C794C95}" destId="{E42B6BB2-EB6F-4D70-B098-E8CB1EE6954E}" srcOrd="3" destOrd="0" parTransId="{BAFA2D95-3AB7-4326-91BD-B7D58047F0DF}" sibTransId="{71F626BB-D642-47AD-B4D0-30262E72F4AF}"/>
    <dgm:cxn modelId="{9EBE981C-3423-4B6D-A209-593DF768BF36}" type="presOf" srcId="{3950368D-161C-4E30-85A5-3D251DC9721D}" destId="{F3339C20-3B7B-45B1-832E-0B8EF0604C2C}" srcOrd="0" destOrd="1" presId="urn:microsoft.com/office/officeart/2005/8/layout/process3"/>
    <dgm:cxn modelId="{4AA420CB-A52A-414B-A009-0B6D43C93124}" type="presOf" srcId="{BB961000-8744-4599-806A-51ADF1FAD9AD}" destId="{84535F99-4F15-4790-9FA6-E6424AF426AD}" srcOrd="0" destOrd="2" presId="urn:microsoft.com/office/officeart/2005/8/layout/process3"/>
    <dgm:cxn modelId="{999A1B3C-AA01-4FD5-86B8-E66EE9CEC122}" type="presOf" srcId="{6553F3AC-0E74-4FFE-93A8-3E2FD628C0CF}" destId="{3BD10A37-765E-4917-B72B-805B948D1B76}" srcOrd="0" destOrd="3" presId="urn:microsoft.com/office/officeart/2005/8/layout/process3"/>
    <dgm:cxn modelId="{3B75993F-3255-4376-B11D-1B43D9F1DDCC}" type="presOf" srcId="{D964F382-E455-4A38-9908-C689DD9A3825}" destId="{3BD10A37-765E-4917-B72B-805B948D1B76}" srcOrd="0" destOrd="1" presId="urn:microsoft.com/office/officeart/2005/8/layout/process3"/>
    <dgm:cxn modelId="{699429C9-10A1-4FE7-B17C-891BE5374D69}" srcId="{BD33E774-A8D2-4B14-9DDB-E373BD52CB32}" destId="{11736490-689D-44F7-AEFC-02F596950630}" srcOrd="0" destOrd="0" parTransId="{834FD1DB-FC0A-45B0-8137-B7527925D571}" sibTransId="{EA4FC3FA-42CD-413A-9B4A-9A19289C08A3}"/>
    <dgm:cxn modelId="{56422368-25AA-4446-BFFA-9E259DC2C8EA}" type="presOf" srcId="{BD33E774-A8D2-4B14-9DDB-E373BD52CB32}" destId="{249F6796-9C2B-4B3A-91C0-6281D7E4624C}" srcOrd="1" destOrd="0" presId="urn:microsoft.com/office/officeart/2005/8/layout/process3"/>
    <dgm:cxn modelId="{B4415378-02EB-4C00-B7DA-629EEAB404AA}" srcId="{C6962397-E5F0-4A56-9DE1-19D29C794C95}" destId="{1B4B7529-8FA3-427B-B359-68EF343C9944}" srcOrd="2" destOrd="0" parTransId="{5C4A67DC-6D60-4400-8F36-E2FB5375043D}" sibTransId="{4B92E705-87CD-4EA4-B7D7-199E7E13EF03}"/>
    <dgm:cxn modelId="{56EC6E42-62BA-4179-B232-36D34F9DAFBD}" type="presOf" srcId="{1B4B7529-8FA3-427B-B359-68EF343C9944}" destId="{F3339C20-3B7B-45B1-832E-0B8EF0604C2C}" srcOrd="0" destOrd="2" presId="urn:microsoft.com/office/officeart/2005/8/layout/process3"/>
    <dgm:cxn modelId="{6CB99AB0-8CF5-49AE-B884-42C1CA4C7BC2}" type="presOf" srcId="{5837DB06-03FB-4B6E-9444-4AF215633070}" destId="{E7091AB7-2FB3-47E7-A346-F70F387A87CD}" srcOrd="0" destOrd="0" presId="urn:microsoft.com/office/officeart/2005/8/layout/process3"/>
    <dgm:cxn modelId="{C2C80A81-D330-4946-B2E4-7E4E307ABBA8}" type="presOf" srcId="{211D3B81-FE0C-4AC8-B6E1-5627EEA9B2EF}" destId="{51C8E52C-C9AD-46DA-AAE1-57E013630A42}" srcOrd="1" destOrd="0" presId="urn:microsoft.com/office/officeart/2005/8/layout/process3"/>
    <dgm:cxn modelId="{70C3F650-3013-4550-810F-EA833BD53D20}" type="presOf" srcId="{E42B6BB2-EB6F-4D70-B098-E8CB1EE6954E}" destId="{F3339C20-3B7B-45B1-832E-0B8EF0604C2C}" srcOrd="0" destOrd="3" presId="urn:microsoft.com/office/officeart/2005/8/layout/process3"/>
    <dgm:cxn modelId="{E44873D1-3BBA-4794-93DF-6550AB50C991}" type="presOf" srcId="{BD33E774-A8D2-4B14-9DDB-E373BD52CB32}" destId="{E590068B-DE09-467C-B2A2-3317C73AE892}" srcOrd="0" destOrd="0" presId="urn:microsoft.com/office/officeart/2005/8/layout/process3"/>
    <dgm:cxn modelId="{C7811698-C3FF-4200-B0E5-8F672437DD5E}" type="presParOf" srcId="{52513BAE-811E-4C38-9143-3F15140E298B}" destId="{FF1A0346-BFCC-4E29-BEE8-CDE0ABCC078C}" srcOrd="0" destOrd="0" presId="urn:microsoft.com/office/officeart/2005/8/layout/process3"/>
    <dgm:cxn modelId="{B986D84F-CB00-42BD-8DF3-5F553C55DA7E}" type="presParOf" srcId="{FF1A0346-BFCC-4E29-BEE8-CDE0ABCC078C}" destId="{D9460F83-5D23-4CA8-82A7-494D8BD1015F}" srcOrd="0" destOrd="0" presId="urn:microsoft.com/office/officeart/2005/8/layout/process3"/>
    <dgm:cxn modelId="{E17B8AB7-35EE-4C25-A43A-9487CA9C7AF5}" type="presParOf" srcId="{FF1A0346-BFCC-4E29-BEE8-CDE0ABCC078C}" destId="{6172A69D-3258-4A05-84AF-1B3B43C423D7}" srcOrd="1" destOrd="0" presId="urn:microsoft.com/office/officeart/2005/8/layout/process3"/>
    <dgm:cxn modelId="{6E69B8BD-05D8-4675-A2C1-4E186FADCD04}" type="presParOf" srcId="{FF1A0346-BFCC-4E29-BEE8-CDE0ABCC078C}" destId="{F3339C20-3B7B-45B1-832E-0B8EF0604C2C}" srcOrd="2" destOrd="0" presId="urn:microsoft.com/office/officeart/2005/8/layout/process3"/>
    <dgm:cxn modelId="{DAA25117-62F9-4E3F-959A-2C73CF5868BF}" type="presParOf" srcId="{52513BAE-811E-4C38-9143-3F15140E298B}" destId="{BFD2CF9F-A501-4E9A-BD3D-972616DE698F}" srcOrd="1" destOrd="0" presId="urn:microsoft.com/office/officeart/2005/8/layout/process3"/>
    <dgm:cxn modelId="{AB37EAB9-9E02-427E-BE20-9E9C2915C14F}" type="presParOf" srcId="{BFD2CF9F-A501-4E9A-BD3D-972616DE698F}" destId="{5C4F7EF1-54C1-4FCF-93DF-F658001E78D9}" srcOrd="0" destOrd="0" presId="urn:microsoft.com/office/officeart/2005/8/layout/process3"/>
    <dgm:cxn modelId="{B4C12ABA-9125-4ABC-8E8C-6A2D600AAB8C}" type="presParOf" srcId="{52513BAE-811E-4C38-9143-3F15140E298B}" destId="{6CFAD4B8-13EC-4853-A4C7-5EF503899975}" srcOrd="2" destOrd="0" presId="urn:microsoft.com/office/officeart/2005/8/layout/process3"/>
    <dgm:cxn modelId="{1B844B25-6D68-4D67-9C6E-F8B43D50BE13}" type="presParOf" srcId="{6CFAD4B8-13EC-4853-A4C7-5EF503899975}" destId="{E590068B-DE09-467C-B2A2-3317C73AE892}" srcOrd="0" destOrd="0" presId="urn:microsoft.com/office/officeart/2005/8/layout/process3"/>
    <dgm:cxn modelId="{37688D09-F55D-4A7E-8736-B999C52EFD44}" type="presParOf" srcId="{6CFAD4B8-13EC-4853-A4C7-5EF503899975}" destId="{249F6796-9C2B-4B3A-91C0-6281D7E4624C}" srcOrd="1" destOrd="0" presId="urn:microsoft.com/office/officeart/2005/8/layout/process3"/>
    <dgm:cxn modelId="{FADB2044-6B13-4FE8-994D-4D5416DFEE18}" type="presParOf" srcId="{6CFAD4B8-13EC-4853-A4C7-5EF503899975}" destId="{84535F99-4F15-4790-9FA6-E6424AF426AD}" srcOrd="2" destOrd="0" presId="urn:microsoft.com/office/officeart/2005/8/layout/process3"/>
    <dgm:cxn modelId="{DA811E80-E460-4003-BE3F-13FD373E83D9}" type="presParOf" srcId="{52513BAE-811E-4C38-9143-3F15140E298B}" destId="{781490B4-706D-4344-BAF1-E5CB5B5A78AF}" srcOrd="3" destOrd="0" presId="urn:microsoft.com/office/officeart/2005/8/layout/process3"/>
    <dgm:cxn modelId="{9056B878-8E62-4D97-B3C2-423DE6518093}" type="presParOf" srcId="{781490B4-706D-4344-BAF1-E5CB5B5A78AF}" destId="{51C8E52C-C9AD-46DA-AAE1-57E013630A42}" srcOrd="0" destOrd="0" presId="urn:microsoft.com/office/officeart/2005/8/layout/process3"/>
    <dgm:cxn modelId="{A30F51BD-2FBF-45D5-BC26-EE73424F6295}" type="presParOf" srcId="{52513BAE-811E-4C38-9143-3F15140E298B}" destId="{995C51FB-A324-4F68-B27B-2DF2F84BB273}" srcOrd="4" destOrd="0" presId="urn:microsoft.com/office/officeart/2005/8/layout/process3"/>
    <dgm:cxn modelId="{DC60DE0A-7E01-4F9F-BDA7-73650EAACF59}" type="presParOf" srcId="{995C51FB-A324-4F68-B27B-2DF2F84BB273}" destId="{E7091AB7-2FB3-47E7-A346-F70F387A87CD}" srcOrd="0" destOrd="0" presId="urn:microsoft.com/office/officeart/2005/8/layout/process3"/>
    <dgm:cxn modelId="{FCA911A5-E706-44D3-809F-DE0ECBEFD471}" type="presParOf" srcId="{995C51FB-A324-4F68-B27B-2DF2F84BB273}" destId="{2924703E-F430-4A3F-AE93-6A380B2BF6A0}" srcOrd="1" destOrd="0" presId="urn:microsoft.com/office/officeart/2005/8/layout/process3"/>
    <dgm:cxn modelId="{7CBECB3D-50F2-4930-81E6-39D9BC41A144}" type="presParOf" srcId="{995C51FB-A324-4F68-B27B-2DF2F84BB273}" destId="{3BD10A37-765E-4917-B72B-805B948D1B7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A1E4E83-A92E-4116-890D-88C9432B4873}"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sv-SE"/>
        </a:p>
      </dgm:t>
    </dgm:pt>
    <dgm:pt modelId="{3D2C2233-C9F9-4DC1-93D4-A08D2347F3DC}">
      <dgm:prSet phldrT="[Text]"/>
      <dgm:spPr/>
      <dgm:t>
        <a:bodyPr/>
        <a:lstStyle/>
        <a:p>
          <a:r>
            <a:rPr lang="sv-SE" dirty="0">
              <a:solidFill>
                <a:schemeClr val="tx1"/>
              </a:solidFill>
            </a:rPr>
            <a:t>15 september Socialchefsnätverket</a:t>
          </a:r>
        </a:p>
      </dgm:t>
    </dgm:pt>
    <dgm:pt modelId="{ED925925-2B9B-4D7B-9830-FDFA8EA66C4A}" type="parTrans" cxnId="{6639EEAF-A85A-4EA5-BB35-295D8DD4C2BD}">
      <dgm:prSet/>
      <dgm:spPr/>
      <dgm:t>
        <a:bodyPr/>
        <a:lstStyle/>
        <a:p>
          <a:endParaRPr lang="sv-SE"/>
        </a:p>
      </dgm:t>
    </dgm:pt>
    <dgm:pt modelId="{76CC64AA-4A04-41E8-B72C-EE91A1710EB0}" type="sibTrans" cxnId="{6639EEAF-A85A-4EA5-BB35-295D8DD4C2BD}">
      <dgm:prSet/>
      <dgm:spPr/>
      <dgm:t>
        <a:bodyPr/>
        <a:lstStyle/>
        <a:p>
          <a:endParaRPr lang="sv-SE"/>
        </a:p>
      </dgm:t>
    </dgm:pt>
    <dgm:pt modelId="{CC0AF7DB-E51B-400E-9E78-96C9D0A24B13}">
      <dgm:prSet phldrT="[Text]"/>
      <dgm:spPr/>
      <dgm:t>
        <a:bodyPr/>
        <a:lstStyle/>
        <a:p>
          <a:r>
            <a:rPr lang="sv-SE" dirty="0"/>
            <a:t>5 oktober</a:t>
          </a:r>
        </a:p>
        <a:p>
          <a:r>
            <a:rPr lang="sv-SE" dirty="0"/>
            <a:t>RSS och NSK-S</a:t>
          </a:r>
          <a:endParaRPr lang="sv-SE" dirty="0">
            <a:solidFill>
              <a:schemeClr val="bg1">
                <a:lumMod val="65000"/>
              </a:schemeClr>
            </a:solidFill>
          </a:endParaRPr>
        </a:p>
      </dgm:t>
    </dgm:pt>
    <dgm:pt modelId="{E409F6F9-CDCC-4DB1-97BF-714F2ADD32DF}" type="parTrans" cxnId="{A2225BF6-91A7-4CB2-8E29-6C3020BE5499}">
      <dgm:prSet/>
      <dgm:spPr/>
      <dgm:t>
        <a:bodyPr/>
        <a:lstStyle/>
        <a:p>
          <a:endParaRPr lang="sv-SE"/>
        </a:p>
      </dgm:t>
    </dgm:pt>
    <dgm:pt modelId="{6AFE5A32-E46A-4A5D-9D9C-7B2AF5B97A23}" type="sibTrans" cxnId="{A2225BF6-91A7-4CB2-8E29-6C3020BE5499}">
      <dgm:prSet/>
      <dgm:spPr/>
      <dgm:t>
        <a:bodyPr/>
        <a:lstStyle/>
        <a:p>
          <a:endParaRPr lang="sv-SE"/>
        </a:p>
      </dgm:t>
    </dgm:pt>
    <dgm:pt modelId="{543D025E-DB1C-4115-895E-299A61C12970}">
      <dgm:prSet phldrT="[Text]"/>
      <dgm:spPr/>
      <dgm:t>
        <a:bodyPr/>
        <a:lstStyle/>
        <a:p>
          <a:pPr algn="ctr"/>
          <a:r>
            <a:rPr lang="sv-SE" dirty="0">
              <a:solidFill>
                <a:schemeClr val="tx1"/>
              </a:solidFill>
            </a:rPr>
            <a:t>7  november – utkast  rapport ledningsgrupp </a:t>
          </a:r>
        </a:p>
      </dgm:t>
    </dgm:pt>
    <dgm:pt modelId="{DB20855B-7389-4997-8059-AA67232C1F7A}" type="parTrans" cxnId="{5F77C6F3-ECE7-4CDD-8195-62AF730E2C16}">
      <dgm:prSet/>
      <dgm:spPr/>
      <dgm:t>
        <a:bodyPr/>
        <a:lstStyle/>
        <a:p>
          <a:endParaRPr lang="sv-SE"/>
        </a:p>
      </dgm:t>
    </dgm:pt>
    <dgm:pt modelId="{B3715087-8CB0-49B8-92A4-E20A0A3CF6F0}" type="sibTrans" cxnId="{5F77C6F3-ECE7-4CDD-8195-62AF730E2C16}">
      <dgm:prSet/>
      <dgm:spPr/>
      <dgm:t>
        <a:bodyPr/>
        <a:lstStyle/>
        <a:p>
          <a:endParaRPr lang="sv-SE"/>
        </a:p>
      </dgm:t>
    </dgm:pt>
    <dgm:pt modelId="{A81C9005-96AB-4C8F-A665-8CC763FC670B}">
      <dgm:prSet/>
      <dgm:spPr/>
      <dgm:t>
        <a:bodyPr/>
        <a:lstStyle/>
        <a:p>
          <a:r>
            <a:rPr lang="sv-SE" dirty="0"/>
            <a:t>30 november -rapport klar</a:t>
          </a:r>
        </a:p>
      </dgm:t>
    </dgm:pt>
    <dgm:pt modelId="{6BB1B132-7453-4F6E-8676-113DDB07CDFD}" type="parTrans" cxnId="{F47A4028-33B9-4220-A21C-7BD5AAB21D69}">
      <dgm:prSet/>
      <dgm:spPr/>
      <dgm:t>
        <a:bodyPr/>
        <a:lstStyle/>
        <a:p>
          <a:endParaRPr lang="sv-SE"/>
        </a:p>
      </dgm:t>
    </dgm:pt>
    <dgm:pt modelId="{802E4BA2-57CF-4FB7-AA74-054F5A8C9EA5}" type="sibTrans" cxnId="{F47A4028-33B9-4220-A21C-7BD5AAB21D69}">
      <dgm:prSet/>
      <dgm:spPr/>
      <dgm:t>
        <a:bodyPr/>
        <a:lstStyle/>
        <a:p>
          <a:endParaRPr lang="sv-SE"/>
        </a:p>
      </dgm:t>
    </dgm:pt>
    <dgm:pt modelId="{9FE21A47-9876-47AE-9059-410BAB82E4F1}">
      <dgm:prSet/>
      <dgm:spPr/>
      <dgm:t>
        <a:bodyPr/>
        <a:lstStyle/>
        <a:p>
          <a:r>
            <a:rPr lang="sv-SE" dirty="0"/>
            <a:t>14 december beredningar</a:t>
          </a:r>
        </a:p>
      </dgm:t>
    </dgm:pt>
    <dgm:pt modelId="{CF741463-EC0F-4477-8956-BA1DDD656965}" type="parTrans" cxnId="{6471EF87-494C-4043-A3A9-FA68BDB3D5AF}">
      <dgm:prSet/>
      <dgm:spPr/>
      <dgm:t>
        <a:bodyPr/>
        <a:lstStyle/>
        <a:p>
          <a:endParaRPr lang="sv-SE"/>
        </a:p>
      </dgm:t>
    </dgm:pt>
    <dgm:pt modelId="{C8183D72-8CDA-44FD-AD54-C7C799598722}" type="sibTrans" cxnId="{6471EF87-494C-4043-A3A9-FA68BDB3D5AF}">
      <dgm:prSet/>
      <dgm:spPr/>
      <dgm:t>
        <a:bodyPr/>
        <a:lstStyle/>
        <a:p>
          <a:endParaRPr lang="sv-SE"/>
        </a:p>
      </dgm:t>
    </dgm:pt>
    <dgm:pt modelId="{3CC6EBE0-D9E5-4F1B-AF91-6675F4EF30DC}" type="pres">
      <dgm:prSet presAssocID="{BA1E4E83-A92E-4116-890D-88C9432B4873}" presName="Name0" presStyleCnt="0">
        <dgm:presLayoutVars>
          <dgm:dir/>
          <dgm:resizeHandles val="exact"/>
        </dgm:presLayoutVars>
      </dgm:prSet>
      <dgm:spPr/>
      <dgm:t>
        <a:bodyPr/>
        <a:lstStyle/>
        <a:p>
          <a:endParaRPr lang="sv-SE"/>
        </a:p>
      </dgm:t>
    </dgm:pt>
    <dgm:pt modelId="{6BED5477-3D8B-4F15-AB65-FE951A50BDCF}" type="pres">
      <dgm:prSet presAssocID="{BA1E4E83-A92E-4116-890D-88C9432B4873}" presName="arrow" presStyleLbl="bgShp" presStyleIdx="0" presStyleCnt="1"/>
      <dgm:spPr/>
    </dgm:pt>
    <dgm:pt modelId="{9C72512E-0F63-494A-A6BA-6D45611242BE}" type="pres">
      <dgm:prSet presAssocID="{BA1E4E83-A92E-4116-890D-88C9432B4873}" presName="points" presStyleCnt="0"/>
      <dgm:spPr/>
    </dgm:pt>
    <dgm:pt modelId="{37141AA6-61C9-47D3-960D-B050B1425BAE}" type="pres">
      <dgm:prSet presAssocID="{3D2C2233-C9F9-4DC1-93D4-A08D2347F3DC}" presName="compositeA" presStyleCnt="0"/>
      <dgm:spPr/>
    </dgm:pt>
    <dgm:pt modelId="{C6B1F696-AD73-4458-AA20-148E0E9EC4FA}" type="pres">
      <dgm:prSet presAssocID="{3D2C2233-C9F9-4DC1-93D4-A08D2347F3DC}" presName="textA" presStyleLbl="revTx" presStyleIdx="0" presStyleCnt="5">
        <dgm:presLayoutVars>
          <dgm:bulletEnabled val="1"/>
        </dgm:presLayoutVars>
      </dgm:prSet>
      <dgm:spPr/>
      <dgm:t>
        <a:bodyPr/>
        <a:lstStyle/>
        <a:p>
          <a:endParaRPr lang="sv-SE"/>
        </a:p>
      </dgm:t>
    </dgm:pt>
    <dgm:pt modelId="{FCBB61B9-B243-4C71-A3E5-A5EAF65B75A7}" type="pres">
      <dgm:prSet presAssocID="{3D2C2233-C9F9-4DC1-93D4-A08D2347F3DC}" presName="circleA" presStyleLbl="node1" presStyleIdx="0" presStyleCnt="5"/>
      <dgm:spPr/>
    </dgm:pt>
    <dgm:pt modelId="{BBE50208-BDFB-4D4D-8C55-AEE416B079C3}" type="pres">
      <dgm:prSet presAssocID="{3D2C2233-C9F9-4DC1-93D4-A08D2347F3DC}" presName="spaceA" presStyleCnt="0"/>
      <dgm:spPr/>
    </dgm:pt>
    <dgm:pt modelId="{0520C7CD-7940-4190-BA83-ECA7C3F773DC}" type="pres">
      <dgm:prSet presAssocID="{76CC64AA-4A04-41E8-B72C-EE91A1710EB0}" presName="space" presStyleCnt="0"/>
      <dgm:spPr/>
    </dgm:pt>
    <dgm:pt modelId="{7ADBB532-9AEE-4AC0-939F-5EC1A108D583}" type="pres">
      <dgm:prSet presAssocID="{CC0AF7DB-E51B-400E-9E78-96C9D0A24B13}" presName="compositeB" presStyleCnt="0"/>
      <dgm:spPr/>
    </dgm:pt>
    <dgm:pt modelId="{AEC35CCA-A768-4469-8881-894FD827AB81}" type="pres">
      <dgm:prSet presAssocID="{CC0AF7DB-E51B-400E-9E78-96C9D0A24B13}" presName="textB" presStyleLbl="revTx" presStyleIdx="1" presStyleCnt="5">
        <dgm:presLayoutVars>
          <dgm:bulletEnabled val="1"/>
        </dgm:presLayoutVars>
      </dgm:prSet>
      <dgm:spPr/>
      <dgm:t>
        <a:bodyPr/>
        <a:lstStyle/>
        <a:p>
          <a:endParaRPr lang="sv-SE"/>
        </a:p>
      </dgm:t>
    </dgm:pt>
    <dgm:pt modelId="{BC18A0D8-6BF6-49FA-BA6A-97EFEEABD781}" type="pres">
      <dgm:prSet presAssocID="{CC0AF7DB-E51B-400E-9E78-96C9D0A24B13}" presName="circleB" presStyleLbl="node1" presStyleIdx="1" presStyleCnt="5"/>
      <dgm:spPr/>
    </dgm:pt>
    <dgm:pt modelId="{161FA94E-747C-43B2-BEB0-7E6EBB737A4D}" type="pres">
      <dgm:prSet presAssocID="{CC0AF7DB-E51B-400E-9E78-96C9D0A24B13}" presName="spaceB" presStyleCnt="0"/>
      <dgm:spPr/>
    </dgm:pt>
    <dgm:pt modelId="{A7B2D6C5-A434-4DC6-9418-908C10DB90D3}" type="pres">
      <dgm:prSet presAssocID="{6AFE5A32-E46A-4A5D-9D9C-7B2AF5B97A23}" presName="space" presStyleCnt="0"/>
      <dgm:spPr/>
    </dgm:pt>
    <dgm:pt modelId="{0A567C00-05B8-41A1-8629-44D19B1484C8}" type="pres">
      <dgm:prSet presAssocID="{543D025E-DB1C-4115-895E-299A61C12970}" presName="compositeA" presStyleCnt="0"/>
      <dgm:spPr/>
    </dgm:pt>
    <dgm:pt modelId="{7170F41A-1DE7-4338-88EF-B87ED6AA1582}" type="pres">
      <dgm:prSet presAssocID="{543D025E-DB1C-4115-895E-299A61C12970}" presName="textA" presStyleLbl="revTx" presStyleIdx="2" presStyleCnt="5">
        <dgm:presLayoutVars>
          <dgm:bulletEnabled val="1"/>
        </dgm:presLayoutVars>
      </dgm:prSet>
      <dgm:spPr/>
      <dgm:t>
        <a:bodyPr/>
        <a:lstStyle/>
        <a:p>
          <a:endParaRPr lang="sv-SE"/>
        </a:p>
      </dgm:t>
    </dgm:pt>
    <dgm:pt modelId="{B779CFB0-9700-4764-895A-C3138EAE7F82}" type="pres">
      <dgm:prSet presAssocID="{543D025E-DB1C-4115-895E-299A61C12970}" presName="circleA" presStyleLbl="node1" presStyleIdx="2" presStyleCnt="5"/>
      <dgm:spPr/>
    </dgm:pt>
    <dgm:pt modelId="{6D44E4D2-8E60-453F-8E8C-463FCB229A3E}" type="pres">
      <dgm:prSet presAssocID="{543D025E-DB1C-4115-895E-299A61C12970}" presName="spaceA" presStyleCnt="0"/>
      <dgm:spPr/>
    </dgm:pt>
    <dgm:pt modelId="{A72F923F-B535-4A03-A179-C909020C9EFD}" type="pres">
      <dgm:prSet presAssocID="{B3715087-8CB0-49B8-92A4-E20A0A3CF6F0}" presName="space" presStyleCnt="0"/>
      <dgm:spPr/>
    </dgm:pt>
    <dgm:pt modelId="{D99F9AD8-9050-4D15-A993-65E33184BD45}" type="pres">
      <dgm:prSet presAssocID="{A81C9005-96AB-4C8F-A665-8CC763FC670B}" presName="compositeB" presStyleCnt="0"/>
      <dgm:spPr/>
    </dgm:pt>
    <dgm:pt modelId="{C8F866FC-33D8-47CB-A84A-5E92AFC344EF}" type="pres">
      <dgm:prSet presAssocID="{A81C9005-96AB-4C8F-A665-8CC763FC670B}" presName="textB" presStyleLbl="revTx" presStyleIdx="3" presStyleCnt="5">
        <dgm:presLayoutVars>
          <dgm:bulletEnabled val="1"/>
        </dgm:presLayoutVars>
      </dgm:prSet>
      <dgm:spPr/>
      <dgm:t>
        <a:bodyPr/>
        <a:lstStyle/>
        <a:p>
          <a:endParaRPr lang="sv-SE"/>
        </a:p>
      </dgm:t>
    </dgm:pt>
    <dgm:pt modelId="{C6417F3D-C956-4EE0-BA29-3A8949CB558D}" type="pres">
      <dgm:prSet presAssocID="{A81C9005-96AB-4C8F-A665-8CC763FC670B}" presName="circleB" presStyleLbl="node1" presStyleIdx="3" presStyleCnt="5"/>
      <dgm:spPr/>
    </dgm:pt>
    <dgm:pt modelId="{CF61C1C3-0CFB-4CD8-8B48-B66931DC3146}" type="pres">
      <dgm:prSet presAssocID="{A81C9005-96AB-4C8F-A665-8CC763FC670B}" presName="spaceB" presStyleCnt="0"/>
      <dgm:spPr/>
    </dgm:pt>
    <dgm:pt modelId="{5B74BB43-A210-436F-A154-48648F1EAB2B}" type="pres">
      <dgm:prSet presAssocID="{802E4BA2-57CF-4FB7-AA74-054F5A8C9EA5}" presName="space" presStyleCnt="0"/>
      <dgm:spPr/>
    </dgm:pt>
    <dgm:pt modelId="{039B943D-726D-4616-8AC9-F9B79A3E782E}" type="pres">
      <dgm:prSet presAssocID="{9FE21A47-9876-47AE-9059-410BAB82E4F1}" presName="compositeA" presStyleCnt="0"/>
      <dgm:spPr/>
    </dgm:pt>
    <dgm:pt modelId="{C8C1B318-4C05-4071-BCAC-BC26B4A09200}" type="pres">
      <dgm:prSet presAssocID="{9FE21A47-9876-47AE-9059-410BAB82E4F1}" presName="textA" presStyleLbl="revTx" presStyleIdx="4" presStyleCnt="5">
        <dgm:presLayoutVars>
          <dgm:bulletEnabled val="1"/>
        </dgm:presLayoutVars>
      </dgm:prSet>
      <dgm:spPr/>
      <dgm:t>
        <a:bodyPr/>
        <a:lstStyle/>
        <a:p>
          <a:endParaRPr lang="sv-SE"/>
        </a:p>
      </dgm:t>
    </dgm:pt>
    <dgm:pt modelId="{C4AB2D82-55CE-4C59-A406-C3BF3E6DF669}" type="pres">
      <dgm:prSet presAssocID="{9FE21A47-9876-47AE-9059-410BAB82E4F1}" presName="circleA" presStyleLbl="node1" presStyleIdx="4" presStyleCnt="5"/>
      <dgm:spPr/>
    </dgm:pt>
    <dgm:pt modelId="{A3F2A20F-7DD1-4EF3-AAC6-861A21804F84}" type="pres">
      <dgm:prSet presAssocID="{9FE21A47-9876-47AE-9059-410BAB82E4F1}" presName="spaceA" presStyleCnt="0"/>
      <dgm:spPr/>
    </dgm:pt>
  </dgm:ptLst>
  <dgm:cxnLst>
    <dgm:cxn modelId="{D99EE6F1-8B18-45E1-BEDB-44755343AE27}" type="presOf" srcId="{543D025E-DB1C-4115-895E-299A61C12970}" destId="{7170F41A-1DE7-4338-88EF-B87ED6AA1582}" srcOrd="0" destOrd="0" presId="urn:microsoft.com/office/officeart/2005/8/layout/hProcess11"/>
    <dgm:cxn modelId="{5ED17017-0632-4500-AFA8-5A8B95088D7B}" type="presOf" srcId="{A81C9005-96AB-4C8F-A665-8CC763FC670B}" destId="{C8F866FC-33D8-47CB-A84A-5E92AFC344EF}" srcOrd="0" destOrd="0" presId="urn:microsoft.com/office/officeart/2005/8/layout/hProcess11"/>
    <dgm:cxn modelId="{6639EEAF-A85A-4EA5-BB35-295D8DD4C2BD}" srcId="{BA1E4E83-A92E-4116-890D-88C9432B4873}" destId="{3D2C2233-C9F9-4DC1-93D4-A08D2347F3DC}" srcOrd="0" destOrd="0" parTransId="{ED925925-2B9B-4D7B-9830-FDFA8EA66C4A}" sibTransId="{76CC64AA-4A04-41E8-B72C-EE91A1710EB0}"/>
    <dgm:cxn modelId="{1D008783-80A5-417D-BD39-2E656B62ED73}" type="presOf" srcId="{BA1E4E83-A92E-4116-890D-88C9432B4873}" destId="{3CC6EBE0-D9E5-4F1B-AF91-6675F4EF30DC}" srcOrd="0" destOrd="0" presId="urn:microsoft.com/office/officeart/2005/8/layout/hProcess11"/>
    <dgm:cxn modelId="{A2225BF6-91A7-4CB2-8E29-6C3020BE5499}" srcId="{BA1E4E83-A92E-4116-890D-88C9432B4873}" destId="{CC0AF7DB-E51B-400E-9E78-96C9D0A24B13}" srcOrd="1" destOrd="0" parTransId="{E409F6F9-CDCC-4DB1-97BF-714F2ADD32DF}" sibTransId="{6AFE5A32-E46A-4A5D-9D9C-7B2AF5B97A23}"/>
    <dgm:cxn modelId="{66D0512F-BFBD-449F-B22A-A16DCF52C85A}" type="presOf" srcId="{CC0AF7DB-E51B-400E-9E78-96C9D0A24B13}" destId="{AEC35CCA-A768-4469-8881-894FD827AB81}" srcOrd="0" destOrd="0" presId="urn:microsoft.com/office/officeart/2005/8/layout/hProcess11"/>
    <dgm:cxn modelId="{18022EE1-BA89-4C9D-A750-BCF159555275}" type="presOf" srcId="{9FE21A47-9876-47AE-9059-410BAB82E4F1}" destId="{C8C1B318-4C05-4071-BCAC-BC26B4A09200}" srcOrd="0" destOrd="0" presId="urn:microsoft.com/office/officeart/2005/8/layout/hProcess11"/>
    <dgm:cxn modelId="{5F77C6F3-ECE7-4CDD-8195-62AF730E2C16}" srcId="{BA1E4E83-A92E-4116-890D-88C9432B4873}" destId="{543D025E-DB1C-4115-895E-299A61C12970}" srcOrd="2" destOrd="0" parTransId="{DB20855B-7389-4997-8059-AA67232C1F7A}" sibTransId="{B3715087-8CB0-49B8-92A4-E20A0A3CF6F0}"/>
    <dgm:cxn modelId="{F47A4028-33B9-4220-A21C-7BD5AAB21D69}" srcId="{BA1E4E83-A92E-4116-890D-88C9432B4873}" destId="{A81C9005-96AB-4C8F-A665-8CC763FC670B}" srcOrd="3" destOrd="0" parTransId="{6BB1B132-7453-4F6E-8676-113DDB07CDFD}" sibTransId="{802E4BA2-57CF-4FB7-AA74-054F5A8C9EA5}"/>
    <dgm:cxn modelId="{6471EF87-494C-4043-A3A9-FA68BDB3D5AF}" srcId="{BA1E4E83-A92E-4116-890D-88C9432B4873}" destId="{9FE21A47-9876-47AE-9059-410BAB82E4F1}" srcOrd="4" destOrd="0" parTransId="{CF741463-EC0F-4477-8956-BA1DDD656965}" sibTransId="{C8183D72-8CDA-44FD-AD54-C7C799598722}"/>
    <dgm:cxn modelId="{865C3272-F381-4237-BF94-D9B9EC6591E3}" type="presOf" srcId="{3D2C2233-C9F9-4DC1-93D4-A08D2347F3DC}" destId="{C6B1F696-AD73-4458-AA20-148E0E9EC4FA}" srcOrd="0" destOrd="0" presId="urn:microsoft.com/office/officeart/2005/8/layout/hProcess11"/>
    <dgm:cxn modelId="{59053ECB-6BCE-4DF6-B5EF-17580E7E4BDE}" type="presParOf" srcId="{3CC6EBE0-D9E5-4F1B-AF91-6675F4EF30DC}" destId="{6BED5477-3D8B-4F15-AB65-FE951A50BDCF}" srcOrd="0" destOrd="0" presId="urn:microsoft.com/office/officeart/2005/8/layout/hProcess11"/>
    <dgm:cxn modelId="{198C6A4C-0727-4871-A582-33B5E3ACCF77}" type="presParOf" srcId="{3CC6EBE0-D9E5-4F1B-AF91-6675F4EF30DC}" destId="{9C72512E-0F63-494A-A6BA-6D45611242BE}" srcOrd="1" destOrd="0" presId="urn:microsoft.com/office/officeart/2005/8/layout/hProcess11"/>
    <dgm:cxn modelId="{CD693219-99FD-4C4D-B613-C1A708E1D95B}" type="presParOf" srcId="{9C72512E-0F63-494A-A6BA-6D45611242BE}" destId="{37141AA6-61C9-47D3-960D-B050B1425BAE}" srcOrd="0" destOrd="0" presId="urn:microsoft.com/office/officeart/2005/8/layout/hProcess11"/>
    <dgm:cxn modelId="{59EB78D2-6EB5-4C7F-B363-0A557F7AD68E}" type="presParOf" srcId="{37141AA6-61C9-47D3-960D-B050B1425BAE}" destId="{C6B1F696-AD73-4458-AA20-148E0E9EC4FA}" srcOrd="0" destOrd="0" presId="urn:microsoft.com/office/officeart/2005/8/layout/hProcess11"/>
    <dgm:cxn modelId="{C884BCBC-5919-4BF1-9578-A52C7594A6B2}" type="presParOf" srcId="{37141AA6-61C9-47D3-960D-B050B1425BAE}" destId="{FCBB61B9-B243-4C71-A3E5-A5EAF65B75A7}" srcOrd="1" destOrd="0" presId="urn:microsoft.com/office/officeart/2005/8/layout/hProcess11"/>
    <dgm:cxn modelId="{69B115EA-30D5-41F6-8360-B933C0B9DCF7}" type="presParOf" srcId="{37141AA6-61C9-47D3-960D-B050B1425BAE}" destId="{BBE50208-BDFB-4D4D-8C55-AEE416B079C3}" srcOrd="2" destOrd="0" presId="urn:microsoft.com/office/officeart/2005/8/layout/hProcess11"/>
    <dgm:cxn modelId="{3035E0ED-0560-416F-811C-F3146F021EC2}" type="presParOf" srcId="{9C72512E-0F63-494A-A6BA-6D45611242BE}" destId="{0520C7CD-7940-4190-BA83-ECA7C3F773DC}" srcOrd="1" destOrd="0" presId="urn:microsoft.com/office/officeart/2005/8/layout/hProcess11"/>
    <dgm:cxn modelId="{9DB2CFC7-3E8C-4EEB-BAF2-846D4A0C5950}" type="presParOf" srcId="{9C72512E-0F63-494A-A6BA-6D45611242BE}" destId="{7ADBB532-9AEE-4AC0-939F-5EC1A108D583}" srcOrd="2" destOrd="0" presId="urn:microsoft.com/office/officeart/2005/8/layout/hProcess11"/>
    <dgm:cxn modelId="{02454BFC-9500-404F-BB4E-BB71939F679C}" type="presParOf" srcId="{7ADBB532-9AEE-4AC0-939F-5EC1A108D583}" destId="{AEC35CCA-A768-4469-8881-894FD827AB81}" srcOrd="0" destOrd="0" presId="urn:microsoft.com/office/officeart/2005/8/layout/hProcess11"/>
    <dgm:cxn modelId="{432CF493-A1BA-4D7C-A999-B213CDA82155}" type="presParOf" srcId="{7ADBB532-9AEE-4AC0-939F-5EC1A108D583}" destId="{BC18A0D8-6BF6-49FA-BA6A-97EFEEABD781}" srcOrd="1" destOrd="0" presId="urn:microsoft.com/office/officeart/2005/8/layout/hProcess11"/>
    <dgm:cxn modelId="{3E8AF8B4-43D0-4697-8242-F54FCBAEF030}" type="presParOf" srcId="{7ADBB532-9AEE-4AC0-939F-5EC1A108D583}" destId="{161FA94E-747C-43B2-BEB0-7E6EBB737A4D}" srcOrd="2" destOrd="0" presId="urn:microsoft.com/office/officeart/2005/8/layout/hProcess11"/>
    <dgm:cxn modelId="{4CA0450F-9DC8-41C4-BE66-CA8110E98C4E}" type="presParOf" srcId="{9C72512E-0F63-494A-A6BA-6D45611242BE}" destId="{A7B2D6C5-A434-4DC6-9418-908C10DB90D3}" srcOrd="3" destOrd="0" presId="urn:microsoft.com/office/officeart/2005/8/layout/hProcess11"/>
    <dgm:cxn modelId="{7E1BCB0C-30B4-48B6-8084-4DAC13D83DBA}" type="presParOf" srcId="{9C72512E-0F63-494A-A6BA-6D45611242BE}" destId="{0A567C00-05B8-41A1-8629-44D19B1484C8}" srcOrd="4" destOrd="0" presId="urn:microsoft.com/office/officeart/2005/8/layout/hProcess11"/>
    <dgm:cxn modelId="{7126E02C-D843-446D-B97E-988F0575C08B}" type="presParOf" srcId="{0A567C00-05B8-41A1-8629-44D19B1484C8}" destId="{7170F41A-1DE7-4338-88EF-B87ED6AA1582}" srcOrd="0" destOrd="0" presId="urn:microsoft.com/office/officeart/2005/8/layout/hProcess11"/>
    <dgm:cxn modelId="{04A1B5A3-F488-410F-A49A-0800F3B8AC38}" type="presParOf" srcId="{0A567C00-05B8-41A1-8629-44D19B1484C8}" destId="{B779CFB0-9700-4764-895A-C3138EAE7F82}" srcOrd="1" destOrd="0" presId="urn:microsoft.com/office/officeart/2005/8/layout/hProcess11"/>
    <dgm:cxn modelId="{E054CB29-9309-4582-AC0A-1799D2B31FED}" type="presParOf" srcId="{0A567C00-05B8-41A1-8629-44D19B1484C8}" destId="{6D44E4D2-8E60-453F-8E8C-463FCB229A3E}" srcOrd="2" destOrd="0" presId="urn:microsoft.com/office/officeart/2005/8/layout/hProcess11"/>
    <dgm:cxn modelId="{C12590F3-FA2A-4404-B6E6-2CED3F6748BC}" type="presParOf" srcId="{9C72512E-0F63-494A-A6BA-6D45611242BE}" destId="{A72F923F-B535-4A03-A179-C909020C9EFD}" srcOrd="5" destOrd="0" presId="urn:microsoft.com/office/officeart/2005/8/layout/hProcess11"/>
    <dgm:cxn modelId="{05C1E774-E10C-447F-826F-8268DCCB5CC5}" type="presParOf" srcId="{9C72512E-0F63-494A-A6BA-6D45611242BE}" destId="{D99F9AD8-9050-4D15-A993-65E33184BD45}" srcOrd="6" destOrd="0" presId="urn:microsoft.com/office/officeart/2005/8/layout/hProcess11"/>
    <dgm:cxn modelId="{4F1FC8FA-8811-42E6-866B-F62DA4454129}" type="presParOf" srcId="{D99F9AD8-9050-4D15-A993-65E33184BD45}" destId="{C8F866FC-33D8-47CB-A84A-5E92AFC344EF}" srcOrd="0" destOrd="0" presId="urn:microsoft.com/office/officeart/2005/8/layout/hProcess11"/>
    <dgm:cxn modelId="{BFCF144D-CEB8-4AD3-A832-FC3347A34D35}" type="presParOf" srcId="{D99F9AD8-9050-4D15-A993-65E33184BD45}" destId="{C6417F3D-C956-4EE0-BA29-3A8949CB558D}" srcOrd="1" destOrd="0" presId="urn:microsoft.com/office/officeart/2005/8/layout/hProcess11"/>
    <dgm:cxn modelId="{2524AB6B-1D0E-4989-A874-8AD006578438}" type="presParOf" srcId="{D99F9AD8-9050-4D15-A993-65E33184BD45}" destId="{CF61C1C3-0CFB-4CD8-8B48-B66931DC3146}" srcOrd="2" destOrd="0" presId="urn:microsoft.com/office/officeart/2005/8/layout/hProcess11"/>
    <dgm:cxn modelId="{8AA9AFB4-B5D9-44BA-A5D1-22E68A661173}" type="presParOf" srcId="{9C72512E-0F63-494A-A6BA-6D45611242BE}" destId="{5B74BB43-A210-436F-A154-48648F1EAB2B}" srcOrd="7" destOrd="0" presId="urn:microsoft.com/office/officeart/2005/8/layout/hProcess11"/>
    <dgm:cxn modelId="{570AEF7F-94EA-4873-9DDE-DD090AD4CFDD}" type="presParOf" srcId="{9C72512E-0F63-494A-A6BA-6D45611242BE}" destId="{039B943D-726D-4616-8AC9-F9B79A3E782E}" srcOrd="8" destOrd="0" presId="urn:microsoft.com/office/officeart/2005/8/layout/hProcess11"/>
    <dgm:cxn modelId="{F62D62CD-F82D-4804-B403-AC3AC107EDEF}" type="presParOf" srcId="{039B943D-726D-4616-8AC9-F9B79A3E782E}" destId="{C8C1B318-4C05-4071-BCAC-BC26B4A09200}" srcOrd="0" destOrd="0" presId="urn:microsoft.com/office/officeart/2005/8/layout/hProcess11"/>
    <dgm:cxn modelId="{8D6DB217-3C6C-4FB3-8859-FD6F50367E43}" type="presParOf" srcId="{039B943D-726D-4616-8AC9-F9B79A3E782E}" destId="{C4AB2D82-55CE-4C59-A406-C3BF3E6DF669}" srcOrd="1" destOrd="0" presId="urn:microsoft.com/office/officeart/2005/8/layout/hProcess11"/>
    <dgm:cxn modelId="{90D6C60C-4C3B-4DDA-8D78-005DB54496F9}" type="presParOf" srcId="{039B943D-726D-4616-8AC9-F9B79A3E782E}" destId="{A3F2A20F-7DD1-4EF3-AAC6-861A21804F84}"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50D525-D5D7-44D2-8A31-5827675CF8C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sv-SE"/>
        </a:p>
      </dgm:t>
    </dgm:pt>
    <dgm:pt modelId="{B0082283-2D3B-43CE-98DF-CCF03C8579A1}">
      <dgm:prSet phldrT="[Tex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path path="circle">
            <a:fillToRect l="50000" t="50000" r="50000" b="50000"/>
          </a:path>
          <a:tileRect/>
        </a:gradFill>
      </dgm:spPr>
      <dgm:t>
        <a:bodyPr/>
        <a:lstStyle/>
        <a:p>
          <a:r>
            <a:rPr lang="sv-SE" sz="1400" b="0" dirty="0">
              <a:latin typeface="+mn-lt"/>
            </a:rPr>
            <a:t>Mer verklighets- och verksamhetsförankring behövs!</a:t>
          </a:r>
        </a:p>
        <a:p>
          <a:r>
            <a:rPr lang="sv-SE" sz="1400" b="0" dirty="0">
              <a:latin typeface="+mn-lt"/>
            </a:rPr>
            <a:t>Varva teori med praktik! </a:t>
          </a:r>
        </a:p>
      </dgm:t>
    </dgm:pt>
    <dgm:pt modelId="{30FA5490-72A5-4C71-98AF-F511BA371CD1}" type="parTrans" cxnId="{F1110D18-074F-41E3-A57F-D5317CC57317}">
      <dgm:prSet/>
      <dgm:spPr/>
      <dgm:t>
        <a:bodyPr/>
        <a:lstStyle/>
        <a:p>
          <a:endParaRPr lang="sv-SE" sz="1400">
            <a:latin typeface="+mn-lt"/>
          </a:endParaRPr>
        </a:p>
      </dgm:t>
    </dgm:pt>
    <dgm:pt modelId="{354B0AA5-D3D4-4B3F-B30A-DA24AF984EC4}" type="sibTrans" cxnId="{F1110D18-074F-41E3-A57F-D5317CC57317}">
      <dgm:prSet/>
      <dgm:spPr/>
      <dgm:t>
        <a:bodyPr/>
        <a:lstStyle/>
        <a:p>
          <a:endParaRPr lang="sv-SE" sz="1400">
            <a:latin typeface="+mn-lt"/>
          </a:endParaRPr>
        </a:p>
      </dgm:t>
    </dgm:pt>
    <dgm:pt modelId="{E1199C66-2F36-48CF-AE92-6F07846D0FE9}">
      <dgm:prSet phldrT="[Text]" custT="1"/>
      <dgm:spPr>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gm:spPr>
      <dgm:t>
        <a:bodyPr spcFirstLastPara="0" vert="horz" wrap="square" lIns="53340" tIns="53340" rIns="53340" bIns="53340" numCol="1" spcCol="1270" anchor="ctr" anchorCtr="0"/>
        <a:lstStyle/>
        <a:p>
          <a:r>
            <a:rPr lang="sv-SE" sz="1400" kern="1200" dirty="0">
              <a:latin typeface="+mn-lt"/>
            </a:rPr>
            <a:t>Mer praktiska inslag: </a:t>
          </a:r>
          <a:r>
            <a:rPr lang="sv-SE" sz="1400" kern="1200" dirty="0" err="1">
              <a:latin typeface="+mn-lt"/>
            </a:rPr>
            <a:t>case</a:t>
          </a:r>
          <a:r>
            <a:rPr lang="sv-SE" sz="1400" kern="1200" dirty="0">
              <a:latin typeface="+mn-lt"/>
            </a:rPr>
            <a:t>, studiebesök hos AG, praktiker som </a:t>
          </a:r>
          <a:r>
            <a:rPr lang="sv-SE" sz="1400" b="0" kern="1200" dirty="0">
              <a:solidFill>
                <a:prstClr val="white"/>
              </a:solidFill>
              <a:latin typeface="Arial"/>
              <a:ea typeface="+mn-ea"/>
              <a:cs typeface="+mn-cs"/>
            </a:rPr>
            <a:t>föreläsare</a:t>
          </a:r>
        </a:p>
      </dgm:t>
    </dgm:pt>
    <dgm:pt modelId="{78D0E753-E4C7-4D13-945F-3E1C5331FD3B}" type="parTrans" cxnId="{5748AA58-E7B2-40F6-AAFE-32DBAEC31503}">
      <dgm:prSet/>
      <dgm:spPr/>
      <dgm:t>
        <a:bodyPr/>
        <a:lstStyle/>
        <a:p>
          <a:endParaRPr lang="sv-SE" sz="1400">
            <a:latin typeface="+mn-lt"/>
          </a:endParaRPr>
        </a:p>
      </dgm:t>
    </dgm:pt>
    <dgm:pt modelId="{08CF9F18-9513-4B05-8DBC-A4DD79F5FAF3}" type="sibTrans" cxnId="{5748AA58-E7B2-40F6-AAFE-32DBAEC31503}">
      <dgm:prSet/>
      <dgm:spPr/>
      <dgm:t>
        <a:bodyPr/>
        <a:lstStyle/>
        <a:p>
          <a:endParaRPr lang="sv-SE" sz="1400">
            <a:latin typeface="+mn-lt"/>
          </a:endParaRPr>
        </a:p>
      </dgm:t>
    </dgm:pt>
    <dgm:pt modelId="{15F1FA18-874C-4FE4-8395-2DB7C802DC5B}">
      <dgm:prSet phldrT="[Text]" custT="1"/>
      <dgm:spPr/>
      <dgm:t>
        <a:bodyPr/>
        <a:lstStyle/>
        <a:p>
          <a:r>
            <a:rPr lang="sv-SE" sz="1400" dirty="0">
              <a:latin typeface="+mn-lt"/>
            </a:rPr>
            <a:t>Mer om socialrätt, förvaltningsrätt och myndighetsutövning</a:t>
          </a:r>
        </a:p>
      </dgm:t>
    </dgm:pt>
    <dgm:pt modelId="{EEBD9FF6-1280-4758-911F-E93729E5E8C4}" type="parTrans" cxnId="{EEF4CF8D-5F7F-4B0B-A7FD-4BE733625032}">
      <dgm:prSet/>
      <dgm:spPr/>
      <dgm:t>
        <a:bodyPr/>
        <a:lstStyle/>
        <a:p>
          <a:endParaRPr lang="sv-SE" sz="1400">
            <a:latin typeface="+mn-lt"/>
          </a:endParaRPr>
        </a:p>
      </dgm:t>
    </dgm:pt>
    <dgm:pt modelId="{0F009431-926E-4E0F-9D9D-B7C11E260F7E}" type="sibTrans" cxnId="{EEF4CF8D-5F7F-4B0B-A7FD-4BE733625032}">
      <dgm:prSet/>
      <dgm:spPr/>
      <dgm:t>
        <a:bodyPr/>
        <a:lstStyle/>
        <a:p>
          <a:endParaRPr lang="sv-SE" sz="1400">
            <a:latin typeface="+mn-lt"/>
          </a:endParaRPr>
        </a:p>
      </dgm:t>
    </dgm:pt>
    <dgm:pt modelId="{643829CC-87FE-4D4E-9A80-56F88A3883A0}">
      <dgm:prSet custT="1"/>
      <dgm:spPr/>
      <dgm:t>
        <a:bodyPr/>
        <a:lstStyle/>
        <a:p>
          <a:r>
            <a:rPr lang="sv-SE" sz="1400" kern="1200">
              <a:latin typeface="+mn-lt"/>
            </a:rPr>
            <a:t>Bra med </a:t>
          </a:r>
          <a:r>
            <a:rPr lang="sv-SE" sz="1400" kern="1200">
              <a:latin typeface="+mn-lt"/>
              <a:ea typeface="+mn-ea"/>
              <a:cs typeface="+mn-cs"/>
            </a:rPr>
            <a:t>generalistutbildning</a:t>
          </a:r>
          <a:r>
            <a:rPr lang="sv-SE" sz="1400" kern="1200">
              <a:latin typeface="+mn-lt"/>
            </a:rPr>
            <a:t> men mer lika kursinnehåll oavsett lärosäte (och mer praktiskt innehåll)</a:t>
          </a:r>
          <a:endParaRPr lang="sv-SE" sz="1400" kern="1200" dirty="0">
            <a:latin typeface="+mn-lt"/>
          </a:endParaRPr>
        </a:p>
      </dgm:t>
    </dgm:pt>
    <dgm:pt modelId="{6A6F2910-7822-44C5-98F2-6929B4C619C8}" type="parTrans" cxnId="{B7D3E677-2138-4875-A50D-2736AA753617}">
      <dgm:prSet/>
      <dgm:spPr/>
      <dgm:t>
        <a:bodyPr/>
        <a:lstStyle/>
        <a:p>
          <a:endParaRPr lang="sv-SE" sz="1400">
            <a:latin typeface="+mn-lt"/>
          </a:endParaRPr>
        </a:p>
      </dgm:t>
    </dgm:pt>
    <dgm:pt modelId="{B5EEDA7B-44D8-4A6A-B535-A011FAD21BC4}" type="sibTrans" cxnId="{B7D3E677-2138-4875-A50D-2736AA753617}">
      <dgm:prSet/>
      <dgm:spPr/>
      <dgm:t>
        <a:bodyPr/>
        <a:lstStyle/>
        <a:p>
          <a:endParaRPr lang="sv-SE" sz="1400">
            <a:latin typeface="+mn-lt"/>
          </a:endParaRPr>
        </a:p>
      </dgm:t>
    </dgm:pt>
    <dgm:pt modelId="{0A6F872B-407A-4B6B-85C0-7155E101B5A7}">
      <dgm:prSet custT="1"/>
      <dgm:spPr>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gm:spPr>
      <dgm:t>
        <a:bodyPr spcFirstLastPara="0" vert="horz" wrap="square" lIns="53340" tIns="53340" rIns="53340" bIns="53340" numCol="1" spcCol="1270" anchor="ctr" anchorCtr="0"/>
        <a:lstStyle/>
        <a:p>
          <a:r>
            <a:rPr lang="sv-SE" sz="1400" b="1" kern="1200" dirty="0">
              <a:latin typeface="+mn-lt"/>
            </a:rPr>
            <a:t>Mer VFU – </a:t>
          </a:r>
          <a:r>
            <a:rPr lang="sv-SE" sz="1400" b="0" kern="1200" dirty="0">
              <a:latin typeface="+mn-lt"/>
            </a:rPr>
            <a:t>helst två </a:t>
          </a:r>
          <a:r>
            <a:rPr lang="sv-SE" sz="1400" kern="1200" dirty="0">
              <a:latin typeface="+mn-lt"/>
            </a:rPr>
            <a:t>praktikterminer – här behövs mer likhet, en för  ”</a:t>
          </a:r>
          <a:r>
            <a:rPr lang="sv-SE" sz="1400" kern="1200" dirty="0">
              <a:solidFill>
                <a:prstClr val="white"/>
              </a:solidFill>
              <a:latin typeface="Arial"/>
              <a:ea typeface="+mn-ea"/>
              <a:cs typeface="+mn-cs"/>
            </a:rPr>
            <a:t>myndighet</a:t>
          </a:r>
          <a:r>
            <a:rPr lang="sv-SE" sz="1400" kern="1200" dirty="0">
              <a:latin typeface="+mn-lt"/>
            </a:rPr>
            <a:t>” och VFU ersättning</a:t>
          </a:r>
        </a:p>
      </dgm:t>
    </dgm:pt>
    <dgm:pt modelId="{4B655F35-7048-4846-864D-38E79C705943}" type="parTrans" cxnId="{6F940F36-2CCF-4F77-B4CD-9DD8112E862A}">
      <dgm:prSet/>
      <dgm:spPr/>
      <dgm:t>
        <a:bodyPr/>
        <a:lstStyle/>
        <a:p>
          <a:endParaRPr lang="sv-SE" sz="1400">
            <a:latin typeface="+mn-lt"/>
          </a:endParaRPr>
        </a:p>
      </dgm:t>
    </dgm:pt>
    <dgm:pt modelId="{71D26BE8-8E26-4190-BD09-2732A4A2A9BB}" type="sibTrans" cxnId="{6F940F36-2CCF-4F77-B4CD-9DD8112E862A}">
      <dgm:prSet/>
      <dgm:spPr/>
      <dgm:t>
        <a:bodyPr/>
        <a:lstStyle/>
        <a:p>
          <a:endParaRPr lang="sv-SE" sz="1400">
            <a:latin typeface="+mn-lt"/>
          </a:endParaRPr>
        </a:p>
      </dgm:t>
    </dgm:pt>
    <dgm:pt modelId="{C79D74CC-FF11-46AB-A233-493A5D40BF4B}">
      <dgm:prSet custT="1"/>
      <dgm:spPr/>
      <dgm:t>
        <a:bodyPr/>
        <a:lstStyle/>
        <a:p>
          <a:r>
            <a:rPr lang="sv-SE" sz="1400" dirty="0">
              <a:latin typeface="+mn-lt"/>
            </a:rPr>
            <a:t>Mer om äldre, LSS, ekonomiskt bistånd, funktionsnedsättningar, skadligt bruk/beroende…</a:t>
          </a:r>
        </a:p>
      </dgm:t>
    </dgm:pt>
    <dgm:pt modelId="{9120644D-4158-48B1-96E9-D0B15F85AAEC}" type="parTrans" cxnId="{F52E6786-909C-4B2A-AE36-229550DDF42C}">
      <dgm:prSet/>
      <dgm:spPr/>
      <dgm:t>
        <a:bodyPr/>
        <a:lstStyle/>
        <a:p>
          <a:endParaRPr lang="sv-SE" sz="1400">
            <a:latin typeface="+mn-lt"/>
          </a:endParaRPr>
        </a:p>
      </dgm:t>
    </dgm:pt>
    <dgm:pt modelId="{1EBEFAB1-D603-4740-B1BD-CC447940E2B7}" type="sibTrans" cxnId="{F52E6786-909C-4B2A-AE36-229550DDF42C}">
      <dgm:prSet/>
      <dgm:spPr/>
      <dgm:t>
        <a:bodyPr/>
        <a:lstStyle/>
        <a:p>
          <a:endParaRPr lang="sv-SE" sz="1400">
            <a:latin typeface="+mn-lt"/>
          </a:endParaRPr>
        </a:p>
      </dgm:t>
    </dgm:pt>
    <dgm:pt modelId="{B6219471-8CEE-4E62-B95E-E376353837AD}">
      <dgm:prSet custT="1"/>
      <dgm:spPr/>
      <dgm:t>
        <a:bodyPr/>
        <a:lstStyle/>
        <a:p>
          <a:r>
            <a:rPr lang="sv-SE" sz="1400" dirty="0">
              <a:latin typeface="+mn-lt"/>
            </a:rPr>
            <a:t>Mer </a:t>
          </a:r>
          <a:r>
            <a:rPr lang="sv-SE" sz="1400" b="0" i="0" dirty="0">
              <a:latin typeface="+mn-lt"/>
            </a:rPr>
            <a:t>praktisk färdighetsträning </a:t>
          </a:r>
          <a:r>
            <a:rPr lang="sv-SE" sz="1400" dirty="0">
              <a:latin typeface="+mn-lt"/>
            </a:rPr>
            <a:t>som samtalsmetodik (svåra samtal), bemötande, att hålla i möten, krishantering</a:t>
          </a:r>
        </a:p>
      </dgm:t>
    </dgm:pt>
    <dgm:pt modelId="{3E024060-6ECD-4F47-8BF9-FB20A3C5888C}" type="parTrans" cxnId="{7BA6CB0F-522A-47C4-AEDD-B5C561922554}">
      <dgm:prSet/>
      <dgm:spPr/>
      <dgm:t>
        <a:bodyPr/>
        <a:lstStyle/>
        <a:p>
          <a:endParaRPr lang="sv-SE" sz="1400">
            <a:latin typeface="+mn-lt"/>
          </a:endParaRPr>
        </a:p>
      </dgm:t>
    </dgm:pt>
    <dgm:pt modelId="{9B69443D-C992-42F9-A0C0-36945BF9F79D}" type="sibTrans" cxnId="{7BA6CB0F-522A-47C4-AEDD-B5C561922554}">
      <dgm:prSet/>
      <dgm:spPr/>
      <dgm:t>
        <a:bodyPr/>
        <a:lstStyle/>
        <a:p>
          <a:endParaRPr lang="sv-SE" sz="1400">
            <a:latin typeface="+mn-lt"/>
          </a:endParaRPr>
        </a:p>
      </dgm:t>
    </dgm:pt>
    <dgm:pt modelId="{09D99CF5-6380-41C2-B03D-167A39D7060F}">
      <dgm:prSet phldrT="[Text]" custT="1"/>
      <dgm:spPr/>
      <dgm:t>
        <a:bodyPr/>
        <a:lstStyle/>
        <a:p>
          <a:r>
            <a:rPr lang="sv-SE" sz="1400" dirty="0">
              <a:latin typeface="+mn-lt"/>
            </a:rPr>
            <a:t>Personlig mognad, livs- och arbetslivserfarenhet är önskvärt – se över antagningsförandet</a:t>
          </a:r>
        </a:p>
      </dgm:t>
    </dgm:pt>
    <dgm:pt modelId="{F72610AE-8CC5-4058-B341-630AFF8B3D7B}" type="sibTrans" cxnId="{A05B55FB-0EB6-4DE2-B51C-D7E336291F37}">
      <dgm:prSet/>
      <dgm:spPr/>
      <dgm:t>
        <a:bodyPr/>
        <a:lstStyle/>
        <a:p>
          <a:endParaRPr lang="sv-SE" sz="1400">
            <a:latin typeface="+mn-lt"/>
          </a:endParaRPr>
        </a:p>
      </dgm:t>
    </dgm:pt>
    <dgm:pt modelId="{CE0CF858-FEA0-4CFF-A10A-FFB4DBBAFED5}" type="parTrans" cxnId="{A05B55FB-0EB6-4DE2-B51C-D7E336291F37}">
      <dgm:prSet/>
      <dgm:spPr/>
      <dgm:t>
        <a:bodyPr/>
        <a:lstStyle/>
        <a:p>
          <a:endParaRPr lang="sv-SE" sz="1400">
            <a:latin typeface="+mn-lt"/>
          </a:endParaRPr>
        </a:p>
      </dgm:t>
    </dgm:pt>
    <dgm:pt modelId="{EA0CC6B7-D045-483C-92F8-2B871C5501B7}">
      <dgm:prSet custT="1"/>
      <dgm:spPr/>
      <dgm:t>
        <a:bodyPr/>
        <a:lstStyle/>
        <a:p>
          <a:r>
            <a:rPr lang="sv-SE" sz="1400" dirty="0">
              <a:latin typeface="+mn-lt"/>
            </a:rPr>
            <a:t>Stärka kunskap om arbete i en politiskt styrd organisation </a:t>
          </a:r>
        </a:p>
      </dgm:t>
    </dgm:pt>
    <dgm:pt modelId="{0524A285-0C4E-4B0B-B585-425B0EECAD1A}" type="parTrans" cxnId="{E8B455BB-36C9-4EF5-B1A0-0A8104A9B283}">
      <dgm:prSet/>
      <dgm:spPr/>
      <dgm:t>
        <a:bodyPr/>
        <a:lstStyle/>
        <a:p>
          <a:endParaRPr lang="sv-SE" sz="1400">
            <a:latin typeface="+mn-lt"/>
          </a:endParaRPr>
        </a:p>
      </dgm:t>
    </dgm:pt>
    <dgm:pt modelId="{8C4D29F8-3346-4957-91E3-A0228058BC9E}" type="sibTrans" cxnId="{E8B455BB-36C9-4EF5-B1A0-0A8104A9B283}">
      <dgm:prSet/>
      <dgm:spPr/>
      <dgm:t>
        <a:bodyPr/>
        <a:lstStyle/>
        <a:p>
          <a:endParaRPr lang="sv-SE" sz="1400">
            <a:latin typeface="+mn-lt"/>
          </a:endParaRPr>
        </a:p>
      </dgm:t>
    </dgm:pt>
    <dgm:pt modelId="{A6855C50-BA51-43B0-9A4A-14E543747B3A}">
      <dgm:prSet custT="1"/>
      <dgm:spPr/>
      <dgm:t>
        <a:bodyPr/>
        <a:lstStyle/>
        <a:p>
          <a:r>
            <a:rPr lang="sv-SE" sz="1400" dirty="0">
              <a:latin typeface="+mn-lt"/>
            </a:rPr>
            <a:t>Behov av fördjupningskurser under utbildning eller specialisering efter</a:t>
          </a:r>
        </a:p>
      </dgm:t>
    </dgm:pt>
    <dgm:pt modelId="{6454DD07-6E27-40B2-A949-4E158504E979}" type="parTrans" cxnId="{432A09B2-421B-4EEE-BAF0-9946F5A883B8}">
      <dgm:prSet/>
      <dgm:spPr/>
      <dgm:t>
        <a:bodyPr/>
        <a:lstStyle/>
        <a:p>
          <a:endParaRPr lang="sv-SE" sz="1400">
            <a:latin typeface="+mn-lt"/>
          </a:endParaRPr>
        </a:p>
      </dgm:t>
    </dgm:pt>
    <dgm:pt modelId="{26FD0E6C-7FB4-41EC-AF60-FBEE293CEAB2}" type="sibTrans" cxnId="{432A09B2-421B-4EEE-BAF0-9946F5A883B8}">
      <dgm:prSet/>
      <dgm:spPr/>
      <dgm:t>
        <a:bodyPr/>
        <a:lstStyle/>
        <a:p>
          <a:endParaRPr lang="sv-SE" sz="1400">
            <a:latin typeface="+mn-lt"/>
          </a:endParaRPr>
        </a:p>
      </dgm:t>
    </dgm:pt>
    <dgm:pt modelId="{6DB49322-1746-4145-96B5-6E53D0D82D6F}">
      <dgm:prSet custT="1"/>
      <dgm:spPr>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gm:spPr>
      <dgm:t>
        <a:bodyPr spcFirstLastPara="0" vert="horz" wrap="square" lIns="53340" tIns="53340" rIns="53340" bIns="53340" numCol="1" spcCol="1270" anchor="ctr" anchorCtr="0"/>
        <a:lstStyle/>
        <a:p>
          <a:r>
            <a:rPr lang="sv-SE" sz="1400" kern="1200" dirty="0">
              <a:latin typeface="+mn-lt"/>
            </a:rPr>
            <a:t>Stärka kunskap och färdigheter i </a:t>
          </a:r>
          <a:r>
            <a:rPr lang="sv-SE" sz="1400" kern="1200" dirty="0">
              <a:solidFill>
                <a:prstClr val="white"/>
              </a:solidFill>
              <a:latin typeface="Arial"/>
              <a:ea typeface="+mn-ea"/>
              <a:cs typeface="+mn-cs"/>
            </a:rPr>
            <a:t>samarbete</a:t>
          </a:r>
          <a:r>
            <a:rPr lang="sv-SE" sz="1400" kern="1200" dirty="0">
              <a:latin typeface="+mn-lt"/>
            </a:rPr>
            <a:t>, samverkan och socialt samspel</a:t>
          </a:r>
        </a:p>
      </dgm:t>
    </dgm:pt>
    <dgm:pt modelId="{529588AE-D3E5-45E8-A819-8BA0771D0DB6}" type="parTrans" cxnId="{8C8D6EBA-6C56-4A2F-80C9-51A3DF635A4A}">
      <dgm:prSet/>
      <dgm:spPr/>
      <dgm:t>
        <a:bodyPr/>
        <a:lstStyle/>
        <a:p>
          <a:endParaRPr lang="sv-SE" sz="1400">
            <a:latin typeface="+mn-lt"/>
          </a:endParaRPr>
        </a:p>
      </dgm:t>
    </dgm:pt>
    <dgm:pt modelId="{DA8E92E6-5E8B-421E-A155-3925047D679C}" type="sibTrans" cxnId="{8C8D6EBA-6C56-4A2F-80C9-51A3DF635A4A}">
      <dgm:prSet/>
      <dgm:spPr/>
      <dgm:t>
        <a:bodyPr/>
        <a:lstStyle/>
        <a:p>
          <a:endParaRPr lang="sv-SE" sz="1400">
            <a:latin typeface="+mn-lt"/>
          </a:endParaRPr>
        </a:p>
      </dgm:t>
    </dgm:pt>
    <dgm:pt modelId="{C6B2B019-8F4D-49D1-8C5F-A31668FFE6E2}">
      <dgm:prSet custT="1"/>
      <dgm:spPr>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gm:spPr>
      <dgm:t>
        <a:bodyPr spcFirstLastPara="0" vert="horz" wrap="square" lIns="53340" tIns="53340" rIns="53340" bIns="53340" numCol="1" spcCol="1270" anchor="ctr" anchorCtr="0"/>
        <a:lstStyle/>
        <a:p>
          <a:r>
            <a:rPr lang="sv-SE" sz="1400" kern="1200" dirty="0">
              <a:latin typeface="+mn-lt"/>
            </a:rPr>
            <a:t>Ökade </a:t>
          </a:r>
          <a:r>
            <a:rPr lang="sv-SE" sz="1400" b="0" kern="1200" dirty="0">
              <a:solidFill>
                <a:prstClr val="white"/>
              </a:solidFill>
              <a:latin typeface="Arial"/>
              <a:ea typeface="+mn-ea"/>
              <a:cs typeface="+mn-cs"/>
            </a:rPr>
            <a:t>färdigheter</a:t>
          </a:r>
          <a:r>
            <a:rPr lang="sv-SE" sz="1400" kern="1200" dirty="0">
              <a:latin typeface="+mn-lt"/>
            </a:rPr>
            <a:t> i att ta egna initiativ, utföra uppgifter, ta till sig information</a:t>
          </a:r>
        </a:p>
      </dgm:t>
    </dgm:pt>
    <dgm:pt modelId="{4D116168-3FF4-488A-A168-58B63AD89866}" type="parTrans" cxnId="{81096750-136F-41EE-8E6F-6ECB23BB9023}">
      <dgm:prSet/>
      <dgm:spPr/>
      <dgm:t>
        <a:bodyPr/>
        <a:lstStyle/>
        <a:p>
          <a:endParaRPr lang="sv-SE" sz="1400">
            <a:latin typeface="+mn-lt"/>
          </a:endParaRPr>
        </a:p>
      </dgm:t>
    </dgm:pt>
    <dgm:pt modelId="{CC271A4C-6F50-4F3F-B7B1-34A1309F1EE6}" type="sibTrans" cxnId="{81096750-136F-41EE-8E6F-6ECB23BB9023}">
      <dgm:prSet/>
      <dgm:spPr/>
      <dgm:t>
        <a:bodyPr/>
        <a:lstStyle/>
        <a:p>
          <a:endParaRPr lang="sv-SE" sz="1400">
            <a:latin typeface="+mn-lt"/>
          </a:endParaRPr>
        </a:p>
      </dgm:t>
    </dgm:pt>
    <dgm:pt modelId="{8C45397D-A123-4E17-83CC-82F04AC6EF7B}" type="pres">
      <dgm:prSet presAssocID="{E750D525-D5D7-44D2-8A31-5827675CF8C5}" presName="diagram" presStyleCnt="0">
        <dgm:presLayoutVars>
          <dgm:dir/>
          <dgm:resizeHandles val="exact"/>
        </dgm:presLayoutVars>
      </dgm:prSet>
      <dgm:spPr/>
      <dgm:t>
        <a:bodyPr/>
        <a:lstStyle/>
        <a:p>
          <a:endParaRPr lang="sv-SE"/>
        </a:p>
      </dgm:t>
    </dgm:pt>
    <dgm:pt modelId="{5DDED20D-33A0-4F66-86EB-8FC42693DA52}" type="pres">
      <dgm:prSet presAssocID="{B0082283-2D3B-43CE-98DF-CCF03C8579A1}" presName="node" presStyleLbl="node1" presStyleIdx="0" presStyleCnt="12" custLinFactNeighborX="-97">
        <dgm:presLayoutVars>
          <dgm:bulletEnabled val="1"/>
        </dgm:presLayoutVars>
      </dgm:prSet>
      <dgm:spPr/>
      <dgm:t>
        <a:bodyPr/>
        <a:lstStyle/>
        <a:p>
          <a:endParaRPr lang="sv-SE"/>
        </a:p>
      </dgm:t>
    </dgm:pt>
    <dgm:pt modelId="{3434EA71-2779-4ADC-A831-DEA200E4173C}" type="pres">
      <dgm:prSet presAssocID="{354B0AA5-D3D4-4B3F-B30A-DA24AF984EC4}" presName="sibTrans" presStyleCnt="0"/>
      <dgm:spPr/>
    </dgm:pt>
    <dgm:pt modelId="{18BE26A7-79A1-47E0-A9B6-6E62B58DB708}" type="pres">
      <dgm:prSet presAssocID="{E1199C66-2F36-48CF-AE92-6F07846D0FE9}" presName="node" presStyleLbl="node1" presStyleIdx="1" presStyleCnt="12">
        <dgm:presLayoutVars>
          <dgm:bulletEnabled val="1"/>
        </dgm:presLayoutVars>
      </dgm:prSet>
      <dgm:spPr>
        <a:xfrm>
          <a:off x="2641301" y="414"/>
          <a:ext cx="2063645" cy="1238187"/>
        </a:xfrm>
        <a:prstGeom prst="rect">
          <a:avLst/>
        </a:prstGeom>
      </dgm:spPr>
      <dgm:t>
        <a:bodyPr/>
        <a:lstStyle/>
        <a:p>
          <a:endParaRPr lang="sv-SE"/>
        </a:p>
      </dgm:t>
    </dgm:pt>
    <dgm:pt modelId="{81056C2F-E527-49E0-8D88-AF1ABE1C0CE5}" type="pres">
      <dgm:prSet presAssocID="{08CF9F18-9513-4B05-8DBC-A4DD79F5FAF3}" presName="sibTrans" presStyleCnt="0"/>
      <dgm:spPr/>
    </dgm:pt>
    <dgm:pt modelId="{1B1ACD17-8E04-43E4-86B4-82E8D652F2C1}" type="pres">
      <dgm:prSet presAssocID="{C79D74CC-FF11-46AB-A233-493A5D40BF4B}" presName="node" presStyleLbl="node1" presStyleIdx="2" presStyleCnt="12" custLinFactY="17296" custLinFactNeighborX="731" custLinFactNeighborY="100000">
        <dgm:presLayoutVars>
          <dgm:bulletEnabled val="1"/>
        </dgm:presLayoutVars>
      </dgm:prSet>
      <dgm:spPr/>
      <dgm:t>
        <a:bodyPr/>
        <a:lstStyle/>
        <a:p>
          <a:endParaRPr lang="sv-SE"/>
        </a:p>
      </dgm:t>
    </dgm:pt>
    <dgm:pt modelId="{E3D5CB8D-06BC-4A46-B417-62EBE34AF9A5}" type="pres">
      <dgm:prSet presAssocID="{1EBEFAB1-D603-4740-B1BD-CC447940E2B7}" presName="sibTrans" presStyleCnt="0"/>
      <dgm:spPr/>
    </dgm:pt>
    <dgm:pt modelId="{ABCC6FF8-27AF-4395-84DE-63337DED0B64}" type="pres">
      <dgm:prSet presAssocID="{0A6F872B-407A-4B6B-85C0-7155E101B5A7}" presName="node" presStyleLbl="node1" presStyleIdx="3" presStyleCnt="12" custLinFactX="-10566" custLinFactNeighborX="-100000" custLinFactNeighborY="-1639">
        <dgm:presLayoutVars>
          <dgm:bulletEnabled val="1"/>
        </dgm:presLayoutVars>
      </dgm:prSet>
      <dgm:spPr>
        <a:xfrm>
          <a:off x="4899631" y="0"/>
          <a:ext cx="2063645" cy="1238187"/>
        </a:xfrm>
        <a:prstGeom prst="rect">
          <a:avLst/>
        </a:prstGeom>
      </dgm:spPr>
      <dgm:t>
        <a:bodyPr/>
        <a:lstStyle/>
        <a:p>
          <a:endParaRPr lang="sv-SE"/>
        </a:p>
      </dgm:t>
    </dgm:pt>
    <dgm:pt modelId="{33118AC2-165C-480D-8DDA-5025E813186E}" type="pres">
      <dgm:prSet presAssocID="{71D26BE8-8E26-4190-BD09-2732A4A2A9BB}" presName="sibTrans" presStyleCnt="0"/>
      <dgm:spPr/>
    </dgm:pt>
    <dgm:pt modelId="{3B5C79B1-C264-41E3-8D4F-BC506480EAE3}" type="pres">
      <dgm:prSet presAssocID="{643829CC-87FE-4D4E-9A80-56F88A3883A0}" presName="node" presStyleLbl="node1" presStyleIdx="4" presStyleCnt="12">
        <dgm:presLayoutVars>
          <dgm:bulletEnabled val="1"/>
        </dgm:presLayoutVars>
      </dgm:prSet>
      <dgm:spPr/>
      <dgm:t>
        <a:bodyPr/>
        <a:lstStyle/>
        <a:p>
          <a:endParaRPr lang="sv-SE"/>
        </a:p>
      </dgm:t>
    </dgm:pt>
    <dgm:pt modelId="{8F3FDE23-669D-4B49-BAB9-785F47D09A98}" type="pres">
      <dgm:prSet presAssocID="{B5EEDA7B-44D8-4A6A-B535-A011FAD21BC4}" presName="sibTrans" presStyleCnt="0"/>
      <dgm:spPr/>
    </dgm:pt>
    <dgm:pt modelId="{46B6748B-2D5E-4460-AD07-4AFD1773C156}" type="pres">
      <dgm:prSet presAssocID="{15F1FA18-874C-4FE4-8395-2DB7C802DC5B}" presName="node" presStyleLbl="node1" presStyleIdx="5" presStyleCnt="12">
        <dgm:presLayoutVars>
          <dgm:bulletEnabled val="1"/>
        </dgm:presLayoutVars>
      </dgm:prSet>
      <dgm:spPr/>
      <dgm:t>
        <a:bodyPr/>
        <a:lstStyle/>
        <a:p>
          <a:endParaRPr lang="sv-SE"/>
        </a:p>
      </dgm:t>
    </dgm:pt>
    <dgm:pt modelId="{BE9DD37A-72B9-4196-94A9-36A0644B2BB5}" type="pres">
      <dgm:prSet presAssocID="{0F009431-926E-4E0F-9D9D-B7C11E260F7E}" presName="sibTrans" presStyleCnt="0"/>
      <dgm:spPr/>
    </dgm:pt>
    <dgm:pt modelId="{E74BE5DA-E739-4FA6-92D3-C4FD0B60813A}" type="pres">
      <dgm:prSet presAssocID="{B6219471-8CEE-4E62-B95E-E376353837AD}" presName="node" presStyleLbl="node1" presStyleIdx="6" presStyleCnt="12" custLinFactX="10115" custLinFactY="-18306" custLinFactNeighborX="100000" custLinFactNeighborY="-100000">
        <dgm:presLayoutVars>
          <dgm:bulletEnabled val="1"/>
        </dgm:presLayoutVars>
      </dgm:prSet>
      <dgm:spPr/>
      <dgm:t>
        <a:bodyPr/>
        <a:lstStyle/>
        <a:p>
          <a:endParaRPr lang="sv-SE"/>
        </a:p>
      </dgm:t>
    </dgm:pt>
    <dgm:pt modelId="{77DB2D1B-510C-4ADB-BC87-23CCCC3D9905}" type="pres">
      <dgm:prSet presAssocID="{9B69443D-C992-42F9-A0C0-36945BF9F79D}" presName="sibTrans" presStyleCnt="0"/>
      <dgm:spPr/>
    </dgm:pt>
    <dgm:pt modelId="{1AB72950-B830-4026-9DFC-8D07816B36FC}" type="pres">
      <dgm:prSet presAssocID="{09D99CF5-6380-41C2-B03D-167A39D7060F}" presName="node" presStyleLbl="node1" presStyleIdx="7" presStyleCnt="12">
        <dgm:presLayoutVars>
          <dgm:bulletEnabled val="1"/>
        </dgm:presLayoutVars>
      </dgm:prSet>
      <dgm:spPr/>
      <dgm:t>
        <a:bodyPr/>
        <a:lstStyle/>
        <a:p>
          <a:endParaRPr lang="sv-SE"/>
        </a:p>
      </dgm:t>
    </dgm:pt>
    <dgm:pt modelId="{64E96B5D-F84E-4762-8A6D-CD6976A62103}" type="pres">
      <dgm:prSet presAssocID="{F72610AE-8CC5-4058-B341-630AFF8B3D7B}" presName="sibTrans" presStyleCnt="0"/>
      <dgm:spPr/>
    </dgm:pt>
    <dgm:pt modelId="{936C3829-DA01-42CC-8D8C-8D0434E3D17C}" type="pres">
      <dgm:prSet presAssocID="{C6B2B019-8F4D-49D1-8C5F-A31668FFE6E2}" presName="node" presStyleLbl="node1" presStyleIdx="8" presStyleCnt="12">
        <dgm:presLayoutVars>
          <dgm:bulletEnabled val="1"/>
        </dgm:presLayoutVars>
      </dgm:prSet>
      <dgm:spPr>
        <a:xfrm>
          <a:off x="371291" y="2889517"/>
          <a:ext cx="2063645" cy="1238187"/>
        </a:xfrm>
        <a:prstGeom prst="rect">
          <a:avLst/>
        </a:prstGeom>
      </dgm:spPr>
      <dgm:t>
        <a:bodyPr/>
        <a:lstStyle/>
        <a:p>
          <a:endParaRPr lang="sv-SE"/>
        </a:p>
      </dgm:t>
    </dgm:pt>
    <dgm:pt modelId="{F6343067-1E74-41DC-9D9C-92870B3C32F5}" type="pres">
      <dgm:prSet presAssocID="{CC271A4C-6F50-4F3F-B7B1-34A1309F1EE6}" presName="sibTrans" presStyleCnt="0"/>
      <dgm:spPr/>
    </dgm:pt>
    <dgm:pt modelId="{CC13A5C2-8B31-436A-9A64-6281EC6C1667}" type="pres">
      <dgm:prSet presAssocID="{6DB49322-1746-4145-96B5-6E53D0D82D6F}" presName="node" presStyleLbl="node1" presStyleIdx="9" presStyleCnt="12">
        <dgm:presLayoutVars>
          <dgm:bulletEnabled val="1"/>
        </dgm:presLayoutVars>
      </dgm:prSet>
      <dgm:spPr>
        <a:xfrm>
          <a:off x="2641301" y="2889517"/>
          <a:ext cx="2063645" cy="1238187"/>
        </a:xfrm>
        <a:prstGeom prst="rect">
          <a:avLst/>
        </a:prstGeom>
      </dgm:spPr>
      <dgm:t>
        <a:bodyPr/>
        <a:lstStyle/>
        <a:p>
          <a:endParaRPr lang="sv-SE"/>
        </a:p>
      </dgm:t>
    </dgm:pt>
    <dgm:pt modelId="{BDFB6BED-4DE5-4A3C-8167-F1DFF7998D7C}" type="pres">
      <dgm:prSet presAssocID="{DA8E92E6-5E8B-421E-A155-3925047D679C}" presName="sibTrans" presStyleCnt="0"/>
      <dgm:spPr/>
    </dgm:pt>
    <dgm:pt modelId="{D7A689D7-CDBD-4551-9463-508FCA7584A9}" type="pres">
      <dgm:prSet presAssocID="{A6855C50-BA51-43B0-9A4A-14E543747B3A}" presName="node" presStyleLbl="node1" presStyleIdx="10" presStyleCnt="12">
        <dgm:presLayoutVars>
          <dgm:bulletEnabled val="1"/>
        </dgm:presLayoutVars>
      </dgm:prSet>
      <dgm:spPr/>
      <dgm:t>
        <a:bodyPr/>
        <a:lstStyle/>
        <a:p>
          <a:endParaRPr lang="sv-SE"/>
        </a:p>
      </dgm:t>
    </dgm:pt>
    <dgm:pt modelId="{E2CFC615-C211-47AD-9891-2EA7C8105CAB}" type="pres">
      <dgm:prSet presAssocID="{26FD0E6C-7FB4-41EC-AF60-FBEE293CEAB2}" presName="sibTrans" presStyleCnt="0"/>
      <dgm:spPr/>
    </dgm:pt>
    <dgm:pt modelId="{8537A21B-F3F9-438D-BECD-18AB6B24F987}" type="pres">
      <dgm:prSet presAssocID="{EA0CC6B7-D045-483C-92F8-2B871C5501B7}" presName="node" presStyleLbl="node1" presStyleIdx="11" presStyleCnt="12">
        <dgm:presLayoutVars>
          <dgm:bulletEnabled val="1"/>
        </dgm:presLayoutVars>
      </dgm:prSet>
      <dgm:spPr/>
      <dgm:t>
        <a:bodyPr/>
        <a:lstStyle/>
        <a:p>
          <a:endParaRPr lang="sv-SE"/>
        </a:p>
      </dgm:t>
    </dgm:pt>
  </dgm:ptLst>
  <dgm:cxnLst>
    <dgm:cxn modelId="{EEF4CF8D-5F7F-4B0B-A7FD-4BE733625032}" srcId="{E750D525-D5D7-44D2-8A31-5827675CF8C5}" destId="{15F1FA18-874C-4FE4-8395-2DB7C802DC5B}" srcOrd="5" destOrd="0" parTransId="{EEBD9FF6-1280-4758-911F-E93729E5E8C4}" sibTransId="{0F009431-926E-4E0F-9D9D-B7C11E260F7E}"/>
    <dgm:cxn modelId="{D7F4D9C2-E44A-4D2E-AEC6-E977D53063DA}" type="presOf" srcId="{0A6F872B-407A-4B6B-85C0-7155E101B5A7}" destId="{ABCC6FF8-27AF-4395-84DE-63337DED0B64}" srcOrd="0" destOrd="0" presId="urn:microsoft.com/office/officeart/2005/8/layout/default"/>
    <dgm:cxn modelId="{CDA9DE92-1014-4171-B2D6-185CC3762F65}" type="presOf" srcId="{B6219471-8CEE-4E62-B95E-E376353837AD}" destId="{E74BE5DA-E739-4FA6-92D3-C4FD0B60813A}" srcOrd="0" destOrd="0" presId="urn:microsoft.com/office/officeart/2005/8/layout/default"/>
    <dgm:cxn modelId="{24D7A2FA-8492-43BA-B275-3BFD1D9F481D}" type="presOf" srcId="{15F1FA18-874C-4FE4-8395-2DB7C802DC5B}" destId="{46B6748B-2D5E-4460-AD07-4AFD1773C156}" srcOrd="0" destOrd="0" presId="urn:microsoft.com/office/officeart/2005/8/layout/default"/>
    <dgm:cxn modelId="{E8B455BB-36C9-4EF5-B1A0-0A8104A9B283}" srcId="{E750D525-D5D7-44D2-8A31-5827675CF8C5}" destId="{EA0CC6B7-D045-483C-92F8-2B871C5501B7}" srcOrd="11" destOrd="0" parTransId="{0524A285-0C4E-4B0B-B585-425B0EECAD1A}" sibTransId="{8C4D29F8-3346-4957-91E3-A0228058BC9E}"/>
    <dgm:cxn modelId="{81096750-136F-41EE-8E6F-6ECB23BB9023}" srcId="{E750D525-D5D7-44D2-8A31-5827675CF8C5}" destId="{C6B2B019-8F4D-49D1-8C5F-A31668FFE6E2}" srcOrd="8" destOrd="0" parTransId="{4D116168-3FF4-488A-A168-58B63AD89866}" sibTransId="{CC271A4C-6F50-4F3F-B7B1-34A1309F1EE6}"/>
    <dgm:cxn modelId="{F531DFD5-2B06-4248-BF22-CDA24762986C}" type="presOf" srcId="{C79D74CC-FF11-46AB-A233-493A5D40BF4B}" destId="{1B1ACD17-8E04-43E4-86B4-82E8D652F2C1}" srcOrd="0" destOrd="0" presId="urn:microsoft.com/office/officeart/2005/8/layout/default"/>
    <dgm:cxn modelId="{5748AA58-E7B2-40F6-AAFE-32DBAEC31503}" srcId="{E750D525-D5D7-44D2-8A31-5827675CF8C5}" destId="{E1199C66-2F36-48CF-AE92-6F07846D0FE9}" srcOrd="1" destOrd="0" parTransId="{78D0E753-E4C7-4D13-945F-3E1C5331FD3B}" sibTransId="{08CF9F18-9513-4B05-8DBC-A4DD79F5FAF3}"/>
    <dgm:cxn modelId="{F52E6786-909C-4B2A-AE36-229550DDF42C}" srcId="{E750D525-D5D7-44D2-8A31-5827675CF8C5}" destId="{C79D74CC-FF11-46AB-A233-493A5D40BF4B}" srcOrd="2" destOrd="0" parTransId="{9120644D-4158-48B1-96E9-D0B15F85AAEC}" sibTransId="{1EBEFAB1-D603-4740-B1BD-CC447940E2B7}"/>
    <dgm:cxn modelId="{3F4C8DA2-56F7-4B6D-A29B-318C91F4BCA6}" type="presOf" srcId="{643829CC-87FE-4D4E-9A80-56F88A3883A0}" destId="{3B5C79B1-C264-41E3-8D4F-BC506480EAE3}" srcOrd="0" destOrd="0" presId="urn:microsoft.com/office/officeart/2005/8/layout/default"/>
    <dgm:cxn modelId="{DCD607A9-8CBA-4323-8092-E16BA8AAC8EB}" type="presOf" srcId="{E750D525-D5D7-44D2-8A31-5827675CF8C5}" destId="{8C45397D-A123-4E17-83CC-82F04AC6EF7B}" srcOrd="0" destOrd="0" presId="urn:microsoft.com/office/officeart/2005/8/layout/default"/>
    <dgm:cxn modelId="{B7D3E677-2138-4875-A50D-2736AA753617}" srcId="{E750D525-D5D7-44D2-8A31-5827675CF8C5}" destId="{643829CC-87FE-4D4E-9A80-56F88A3883A0}" srcOrd="4" destOrd="0" parTransId="{6A6F2910-7822-44C5-98F2-6929B4C619C8}" sibTransId="{B5EEDA7B-44D8-4A6A-B535-A011FAD21BC4}"/>
    <dgm:cxn modelId="{31102707-6D71-49F7-A890-E07011332C90}" type="presOf" srcId="{09D99CF5-6380-41C2-B03D-167A39D7060F}" destId="{1AB72950-B830-4026-9DFC-8D07816B36FC}" srcOrd="0" destOrd="0" presId="urn:microsoft.com/office/officeart/2005/8/layout/default"/>
    <dgm:cxn modelId="{DC06F594-1BCF-4D10-84E4-52121A799E1C}" type="presOf" srcId="{EA0CC6B7-D045-483C-92F8-2B871C5501B7}" destId="{8537A21B-F3F9-438D-BECD-18AB6B24F987}" srcOrd="0" destOrd="0" presId="urn:microsoft.com/office/officeart/2005/8/layout/default"/>
    <dgm:cxn modelId="{E6BF02E9-583A-45EF-A57E-8E7C2B00E7A8}" type="presOf" srcId="{B0082283-2D3B-43CE-98DF-CCF03C8579A1}" destId="{5DDED20D-33A0-4F66-86EB-8FC42693DA52}" srcOrd="0" destOrd="0" presId="urn:microsoft.com/office/officeart/2005/8/layout/default"/>
    <dgm:cxn modelId="{432A09B2-421B-4EEE-BAF0-9946F5A883B8}" srcId="{E750D525-D5D7-44D2-8A31-5827675CF8C5}" destId="{A6855C50-BA51-43B0-9A4A-14E543747B3A}" srcOrd="10" destOrd="0" parTransId="{6454DD07-6E27-40B2-A949-4E158504E979}" sibTransId="{26FD0E6C-7FB4-41EC-AF60-FBEE293CEAB2}"/>
    <dgm:cxn modelId="{B93112A8-B86E-4F30-9CA5-AE01534F6BBA}" type="presOf" srcId="{6DB49322-1746-4145-96B5-6E53D0D82D6F}" destId="{CC13A5C2-8B31-436A-9A64-6281EC6C1667}" srcOrd="0" destOrd="0" presId="urn:microsoft.com/office/officeart/2005/8/layout/default"/>
    <dgm:cxn modelId="{8C8D6EBA-6C56-4A2F-80C9-51A3DF635A4A}" srcId="{E750D525-D5D7-44D2-8A31-5827675CF8C5}" destId="{6DB49322-1746-4145-96B5-6E53D0D82D6F}" srcOrd="9" destOrd="0" parTransId="{529588AE-D3E5-45E8-A819-8BA0771D0DB6}" sibTransId="{DA8E92E6-5E8B-421E-A155-3925047D679C}"/>
    <dgm:cxn modelId="{A05B55FB-0EB6-4DE2-B51C-D7E336291F37}" srcId="{E750D525-D5D7-44D2-8A31-5827675CF8C5}" destId="{09D99CF5-6380-41C2-B03D-167A39D7060F}" srcOrd="7" destOrd="0" parTransId="{CE0CF858-FEA0-4CFF-A10A-FFB4DBBAFED5}" sibTransId="{F72610AE-8CC5-4058-B341-630AFF8B3D7B}"/>
    <dgm:cxn modelId="{7BA6CB0F-522A-47C4-AEDD-B5C561922554}" srcId="{E750D525-D5D7-44D2-8A31-5827675CF8C5}" destId="{B6219471-8CEE-4E62-B95E-E376353837AD}" srcOrd="6" destOrd="0" parTransId="{3E024060-6ECD-4F47-8BF9-FB20A3C5888C}" sibTransId="{9B69443D-C992-42F9-A0C0-36945BF9F79D}"/>
    <dgm:cxn modelId="{8B191447-6DE2-4331-BFBF-43C5C093E840}" type="presOf" srcId="{E1199C66-2F36-48CF-AE92-6F07846D0FE9}" destId="{18BE26A7-79A1-47E0-A9B6-6E62B58DB708}" srcOrd="0" destOrd="0" presId="urn:microsoft.com/office/officeart/2005/8/layout/default"/>
    <dgm:cxn modelId="{6F940F36-2CCF-4F77-B4CD-9DD8112E862A}" srcId="{E750D525-D5D7-44D2-8A31-5827675CF8C5}" destId="{0A6F872B-407A-4B6B-85C0-7155E101B5A7}" srcOrd="3" destOrd="0" parTransId="{4B655F35-7048-4846-864D-38E79C705943}" sibTransId="{71D26BE8-8E26-4190-BD09-2732A4A2A9BB}"/>
    <dgm:cxn modelId="{F1110D18-074F-41E3-A57F-D5317CC57317}" srcId="{E750D525-D5D7-44D2-8A31-5827675CF8C5}" destId="{B0082283-2D3B-43CE-98DF-CCF03C8579A1}" srcOrd="0" destOrd="0" parTransId="{30FA5490-72A5-4C71-98AF-F511BA371CD1}" sibTransId="{354B0AA5-D3D4-4B3F-B30A-DA24AF984EC4}"/>
    <dgm:cxn modelId="{F40C46BD-1AEB-4967-95ED-0AD41F24B146}" type="presOf" srcId="{A6855C50-BA51-43B0-9A4A-14E543747B3A}" destId="{D7A689D7-CDBD-4551-9463-508FCA7584A9}" srcOrd="0" destOrd="0" presId="urn:microsoft.com/office/officeart/2005/8/layout/default"/>
    <dgm:cxn modelId="{D3589BD1-966A-43F3-AC62-02B5A0D25D4D}" type="presOf" srcId="{C6B2B019-8F4D-49D1-8C5F-A31668FFE6E2}" destId="{936C3829-DA01-42CC-8D8C-8D0434E3D17C}" srcOrd="0" destOrd="0" presId="urn:microsoft.com/office/officeart/2005/8/layout/default"/>
    <dgm:cxn modelId="{C89E55FF-8370-487F-8580-7D3940DD2E58}" type="presParOf" srcId="{8C45397D-A123-4E17-83CC-82F04AC6EF7B}" destId="{5DDED20D-33A0-4F66-86EB-8FC42693DA52}" srcOrd="0" destOrd="0" presId="urn:microsoft.com/office/officeart/2005/8/layout/default"/>
    <dgm:cxn modelId="{C7141A13-FC71-4C87-BAC4-AD46B9112266}" type="presParOf" srcId="{8C45397D-A123-4E17-83CC-82F04AC6EF7B}" destId="{3434EA71-2779-4ADC-A831-DEA200E4173C}" srcOrd="1" destOrd="0" presId="urn:microsoft.com/office/officeart/2005/8/layout/default"/>
    <dgm:cxn modelId="{C553383D-502B-4998-B44F-719513D246A1}" type="presParOf" srcId="{8C45397D-A123-4E17-83CC-82F04AC6EF7B}" destId="{18BE26A7-79A1-47E0-A9B6-6E62B58DB708}" srcOrd="2" destOrd="0" presId="urn:microsoft.com/office/officeart/2005/8/layout/default"/>
    <dgm:cxn modelId="{84C7E68B-C29D-46D8-ABFB-1CF81494156B}" type="presParOf" srcId="{8C45397D-A123-4E17-83CC-82F04AC6EF7B}" destId="{81056C2F-E527-49E0-8D88-AF1ABE1C0CE5}" srcOrd="3" destOrd="0" presId="urn:microsoft.com/office/officeart/2005/8/layout/default"/>
    <dgm:cxn modelId="{3FAFD339-EE65-4BE1-9825-A5DF676EF7F1}" type="presParOf" srcId="{8C45397D-A123-4E17-83CC-82F04AC6EF7B}" destId="{1B1ACD17-8E04-43E4-86B4-82E8D652F2C1}" srcOrd="4" destOrd="0" presId="urn:microsoft.com/office/officeart/2005/8/layout/default"/>
    <dgm:cxn modelId="{366EFE63-D22C-4548-8CE6-2BA208C2C21B}" type="presParOf" srcId="{8C45397D-A123-4E17-83CC-82F04AC6EF7B}" destId="{E3D5CB8D-06BC-4A46-B417-62EBE34AF9A5}" srcOrd="5" destOrd="0" presId="urn:microsoft.com/office/officeart/2005/8/layout/default"/>
    <dgm:cxn modelId="{8F3C5627-D330-4DB2-9902-50F4061B3316}" type="presParOf" srcId="{8C45397D-A123-4E17-83CC-82F04AC6EF7B}" destId="{ABCC6FF8-27AF-4395-84DE-63337DED0B64}" srcOrd="6" destOrd="0" presId="urn:microsoft.com/office/officeart/2005/8/layout/default"/>
    <dgm:cxn modelId="{FD9534B5-7205-4F0C-A5D5-A3EFE736A7D5}" type="presParOf" srcId="{8C45397D-A123-4E17-83CC-82F04AC6EF7B}" destId="{33118AC2-165C-480D-8DDA-5025E813186E}" srcOrd="7" destOrd="0" presId="urn:microsoft.com/office/officeart/2005/8/layout/default"/>
    <dgm:cxn modelId="{6F34E0C2-31CE-4BAA-94A0-E9F4940F4947}" type="presParOf" srcId="{8C45397D-A123-4E17-83CC-82F04AC6EF7B}" destId="{3B5C79B1-C264-41E3-8D4F-BC506480EAE3}" srcOrd="8" destOrd="0" presId="urn:microsoft.com/office/officeart/2005/8/layout/default"/>
    <dgm:cxn modelId="{F03C7901-31E5-41A4-83A0-9AFEBA7F3DEC}" type="presParOf" srcId="{8C45397D-A123-4E17-83CC-82F04AC6EF7B}" destId="{8F3FDE23-669D-4B49-BAB9-785F47D09A98}" srcOrd="9" destOrd="0" presId="urn:microsoft.com/office/officeart/2005/8/layout/default"/>
    <dgm:cxn modelId="{2A1081F1-DC3A-49E8-ABB6-00C280C8FAFD}" type="presParOf" srcId="{8C45397D-A123-4E17-83CC-82F04AC6EF7B}" destId="{46B6748B-2D5E-4460-AD07-4AFD1773C156}" srcOrd="10" destOrd="0" presId="urn:microsoft.com/office/officeart/2005/8/layout/default"/>
    <dgm:cxn modelId="{A08DA28D-5390-417F-AE30-658A81A9631B}" type="presParOf" srcId="{8C45397D-A123-4E17-83CC-82F04AC6EF7B}" destId="{BE9DD37A-72B9-4196-94A9-36A0644B2BB5}" srcOrd="11" destOrd="0" presId="urn:microsoft.com/office/officeart/2005/8/layout/default"/>
    <dgm:cxn modelId="{C13BEAA6-2044-4EA6-BBE4-7300FE1E8065}" type="presParOf" srcId="{8C45397D-A123-4E17-83CC-82F04AC6EF7B}" destId="{E74BE5DA-E739-4FA6-92D3-C4FD0B60813A}" srcOrd="12" destOrd="0" presId="urn:microsoft.com/office/officeart/2005/8/layout/default"/>
    <dgm:cxn modelId="{E1C68CFC-806E-469A-8AB2-0A48DCA834F7}" type="presParOf" srcId="{8C45397D-A123-4E17-83CC-82F04AC6EF7B}" destId="{77DB2D1B-510C-4ADB-BC87-23CCCC3D9905}" srcOrd="13" destOrd="0" presId="urn:microsoft.com/office/officeart/2005/8/layout/default"/>
    <dgm:cxn modelId="{19CA4120-AA4C-4ADF-9595-2822496FEBC5}" type="presParOf" srcId="{8C45397D-A123-4E17-83CC-82F04AC6EF7B}" destId="{1AB72950-B830-4026-9DFC-8D07816B36FC}" srcOrd="14" destOrd="0" presId="urn:microsoft.com/office/officeart/2005/8/layout/default"/>
    <dgm:cxn modelId="{431CEC94-D4BA-4E23-8AB9-962EF962E5DC}" type="presParOf" srcId="{8C45397D-A123-4E17-83CC-82F04AC6EF7B}" destId="{64E96B5D-F84E-4762-8A6D-CD6976A62103}" srcOrd="15" destOrd="0" presId="urn:microsoft.com/office/officeart/2005/8/layout/default"/>
    <dgm:cxn modelId="{A2D50C39-FE5F-4CD2-8AB4-445630E36B04}" type="presParOf" srcId="{8C45397D-A123-4E17-83CC-82F04AC6EF7B}" destId="{936C3829-DA01-42CC-8D8C-8D0434E3D17C}" srcOrd="16" destOrd="0" presId="urn:microsoft.com/office/officeart/2005/8/layout/default"/>
    <dgm:cxn modelId="{A293D424-43FD-4009-B316-91A6F5E57E39}" type="presParOf" srcId="{8C45397D-A123-4E17-83CC-82F04AC6EF7B}" destId="{F6343067-1E74-41DC-9D9C-92870B3C32F5}" srcOrd="17" destOrd="0" presId="urn:microsoft.com/office/officeart/2005/8/layout/default"/>
    <dgm:cxn modelId="{3F605343-DC6B-4939-B694-9D5416186975}" type="presParOf" srcId="{8C45397D-A123-4E17-83CC-82F04AC6EF7B}" destId="{CC13A5C2-8B31-436A-9A64-6281EC6C1667}" srcOrd="18" destOrd="0" presId="urn:microsoft.com/office/officeart/2005/8/layout/default"/>
    <dgm:cxn modelId="{5CB89CF2-ED3E-4C36-9A83-B3E77402E753}" type="presParOf" srcId="{8C45397D-A123-4E17-83CC-82F04AC6EF7B}" destId="{BDFB6BED-4DE5-4A3C-8167-F1DFF7998D7C}" srcOrd="19" destOrd="0" presId="urn:microsoft.com/office/officeart/2005/8/layout/default"/>
    <dgm:cxn modelId="{B34BAEE0-0A9D-4C60-B2B7-57194FD5F61B}" type="presParOf" srcId="{8C45397D-A123-4E17-83CC-82F04AC6EF7B}" destId="{D7A689D7-CDBD-4551-9463-508FCA7584A9}" srcOrd="20" destOrd="0" presId="urn:microsoft.com/office/officeart/2005/8/layout/default"/>
    <dgm:cxn modelId="{61066C12-3382-43C3-A37E-90A009EA3946}" type="presParOf" srcId="{8C45397D-A123-4E17-83CC-82F04AC6EF7B}" destId="{E2CFC615-C211-47AD-9891-2EA7C8105CAB}" srcOrd="21" destOrd="0" presId="urn:microsoft.com/office/officeart/2005/8/layout/default"/>
    <dgm:cxn modelId="{1CE4C06A-B672-497A-8DBB-0773075C7FD3}" type="presParOf" srcId="{8C45397D-A123-4E17-83CC-82F04AC6EF7B}" destId="{8537A21B-F3F9-438D-BECD-18AB6B24F987}"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C0D2B73-5E86-4A30-BC63-FDF1C429856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sv-SE"/>
        </a:p>
      </dgm:t>
    </dgm:pt>
    <dgm:pt modelId="{1F0CC901-F892-424B-ADFA-60A6E14D7289}">
      <dgm:prSet phldrT="[Text]" custT="1"/>
      <dgm:spPr/>
      <dgm:t>
        <a:bodyPr lIns="180000"/>
        <a:lstStyle/>
        <a:p>
          <a:r>
            <a:rPr lang="sv-SE" sz="1600" kern="1200" dirty="0">
              <a:solidFill>
                <a:prstClr val="white"/>
              </a:solidFill>
              <a:latin typeface="+mn-lt"/>
              <a:ea typeface="+mn-ea"/>
              <a:cs typeface="+mn-cs"/>
            </a:rPr>
            <a:t>Kunskaper i viss juridik, främst </a:t>
          </a:r>
          <a:r>
            <a:rPr lang="sv-SE" sz="1600" kern="1200" dirty="0" err="1">
              <a:solidFill>
                <a:prstClr val="white"/>
              </a:solidFill>
              <a:latin typeface="+mn-lt"/>
              <a:ea typeface="+mn-ea"/>
              <a:cs typeface="+mn-cs"/>
            </a:rPr>
            <a:t>SoL</a:t>
          </a:r>
          <a:r>
            <a:rPr lang="sv-SE" sz="1600" kern="1200" dirty="0">
              <a:solidFill>
                <a:prstClr val="white"/>
              </a:solidFill>
              <a:latin typeface="+mn-lt"/>
              <a:ea typeface="+mn-ea"/>
              <a:cs typeface="+mn-cs"/>
            </a:rPr>
            <a:t>, LSS och LVM (3/5)</a:t>
          </a:r>
        </a:p>
      </dgm:t>
    </dgm:pt>
    <dgm:pt modelId="{77917CA1-A039-46B6-B2CF-A92F2AD428BC}" type="parTrans" cxnId="{7746EA1D-F602-451A-B495-1E830754DD88}">
      <dgm:prSet/>
      <dgm:spPr/>
      <dgm:t>
        <a:bodyPr/>
        <a:lstStyle/>
        <a:p>
          <a:endParaRPr lang="sv-SE" sz="1600">
            <a:latin typeface="+mn-lt"/>
          </a:endParaRPr>
        </a:p>
      </dgm:t>
    </dgm:pt>
    <dgm:pt modelId="{494CB5CC-313B-47E4-8EFE-F242066B6EF3}" type="sibTrans" cxnId="{7746EA1D-F602-451A-B495-1E830754DD88}">
      <dgm:prSet/>
      <dgm:spPr/>
      <dgm:t>
        <a:bodyPr/>
        <a:lstStyle/>
        <a:p>
          <a:endParaRPr lang="sv-SE" sz="1600">
            <a:latin typeface="+mn-lt"/>
          </a:endParaRPr>
        </a:p>
      </dgm:t>
    </dgm:pt>
    <dgm:pt modelId="{D94809FE-8BB6-4F1B-8CA6-0BC86BF6E90E}">
      <dgm:prSet phldrT="[Text]" custT="1"/>
      <dgm:spPr/>
      <dgm:t>
        <a:bodyPr lIns="180000"/>
        <a:lstStyle/>
        <a:p>
          <a:r>
            <a:rPr lang="sv-SE" sz="1600" dirty="0">
              <a:latin typeface="+mn-lt"/>
            </a:rPr>
            <a:t>Datorvana och digitala kunskaper (3/5)</a:t>
          </a:r>
        </a:p>
      </dgm:t>
    </dgm:pt>
    <dgm:pt modelId="{6E7C7A58-C614-4042-98EA-D372ED401BB1}" type="parTrans" cxnId="{BEBD0972-796F-43EE-BF77-E289D8D3FB09}">
      <dgm:prSet/>
      <dgm:spPr/>
      <dgm:t>
        <a:bodyPr/>
        <a:lstStyle/>
        <a:p>
          <a:endParaRPr lang="sv-SE" sz="1600">
            <a:latin typeface="+mn-lt"/>
          </a:endParaRPr>
        </a:p>
      </dgm:t>
    </dgm:pt>
    <dgm:pt modelId="{C97D66C5-F0BA-41EA-B99B-5BDF06EF8C40}" type="sibTrans" cxnId="{BEBD0972-796F-43EE-BF77-E289D8D3FB09}">
      <dgm:prSet/>
      <dgm:spPr/>
      <dgm:t>
        <a:bodyPr/>
        <a:lstStyle/>
        <a:p>
          <a:endParaRPr lang="sv-SE" sz="1600">
            <a:latin typeface="+mn-lt"/>
          </a:endParaRPr>
        </a:p>
      </dgm:t>
    </dgm:pt>
    <dgm:pt modelId="{77CEBE70-445B-456D-A9AC-A7B0676073B6}">
      <dgm:prSet custT="1"/>
      <dgm:spPr/>
      <dgm:t>
        <a:bodyPr lIns="180000"/>
        <a:lstStyle/>
        <a:p>
          <a:r>
            <a:rPr lang="sv-SE" sz="1600" dirty="0">
              <a:latin typeface="+mn-lt"/>
            </a:rPr>
            <a:t>Kritiskt förhållningssätt, analyser och kritiskt tänkande (3/5)</a:t>
          </a:r>
        </a:p>
      </dgm:t>
    </dgm:pt>
    <dgm:pt modelId="{B9F8EE39-E4C8-478E-B778-F9B439AFB2D0}" type="parTrans" cxnId="{6210F7FE-92E3-4E52-B27A-B127EA4EB189}">
      <dgm:prSet/>
      <dgm:spPr/>
      <dgm:t>
        <a:bodyPr/>
        <a:lstStyle/>
        <a:p>
          <a:endParaRPr lang="sv-SE" sz="1600">
            <a:latin typeface="+mn-lt"/>
          </a:endParaRPr>
        </a:p>
      </dgm:t>
    </dgm:pt>
    <dgm:pt modelId="{451FBD91-6131-4CC9-A294-8B988C9F3660}" type="sibTrans" cxnId="{6210F7FE-92E3-4E52-B27A-B127EA4EB189}">
      <dgm:prSet/>
      <dgm:spPr/>
      <dgm:t>
        <a:bodyPr/>
        <a:lstStyle/>
        <a:p>
          <a:endParaRPr lang="sv-SE" sz="1600">
            <a:latin typeface="+mn-lt"/>
          </a:endParaRPr>
        </a:p>
      </dgm:t>
    </dgm:pt>
    <dgm:pt modelId="{1CA7A92E-6F14-4192-B625-F43A8428BC31}">
      <dgm:prSet phldrT="[Text]" custT="1"/>
      <dgm:spPr/>
      <dgm:t>
        <a:bodyPr lIns="180000"/>
        <a:lstStyle/>
        <a:p>
          <a:r>
            <a:rPr lang="sv-SE" sz="1600" b="1" dirty="0">
              <a:latin typeface="+mn-lt"/>
            </a:rPr>
            <a:t>Dokumentation - </a:t>
          </a:r>
          <a:r>
            <a:rPr lang="sv-SE" sz="1600" b="0" dirty="0">
              <a:latin typeface="+mn-lt"/>
            </a:rPr>
            <a:t>färdigheter i grundläggande dokumentation (5/5)</a:t>
          </a:r>
        </a:p>
      </dgm:t>
    </dgm:pt>
    <dgm:pt modelId="{100B9A58-EEB0-4F2A-B52D-A8AA2979C062}" type="sibTrans" cxnId="{25DE627F-5703-449F-A2F7-08778F2281BF}">
      <dgm:prSet/>
      <dgm:spPr/>
      <dgm:t>
        <a:bodyPr/>
        <a:lstStyle/>
        <a:p>
          <a:endParaRPr lang="sv-SE" sz="1600">
            <a:latin typeface="+mn-lt"/>
          </a:endParaRPr>
        </a:p>
      </dgm:t>
    </dgm:pt>
    <dgm:pt modelId="{C0992898-5618-427F-A5B1-D078A54D4761}" type="parTrans" cxnId="{25DE627F-5703-449F-A2F7-08778F2281BF}">
      <dgm:prSet/>
      <dgm:spPr/>
      <dgm:t>
        <a:bodyPr/>
        <a:lstStyle/>
        <a:p>
          <a:endParaRPr lang="sv-SE" sz="1600">
            <a:latin typeface="+mn-lt"/>
          </a:endParaRPr>
        </a:p>
      </dgm:t>
    </dgm:pt>
    <dgm:pt modelId="{E218EF80-E754-4ECE-B66B-481C7A2393D8}">
      <dgm:prSet phldrT="[Text]" custT="1"/>
      <dgm:spPr/>
      <dgm:t>
        <a:bodyPr lIns="180000" rIns="144000"/>
        <a:lstStyle/>
        <a:p>
          <a:r>
            <a:rPr lang="sv-SE" sz="1600" b="1" dirty="0">
              <a:latin typeface="+mn-lt"/>
            </a:rPr>
            <a:t>Teori</a:t>
          </a:r>
          <a:r>
            <a:rPr lang="sv-SE" sz="1600" b="0" dirty="0">
              <a:latin typeface="+mn-lt"/>
            </a:rPr>
            <a:t> – kunskap om grundläggande teori, bred bas med övergripande kunskap inom många olika områden (5/5)</a:t>
          </a:r>
        </a:p>
      </dgm:t>
    </dgm:pt>
    <dgm:pt modelId="{AAA1C7B8-55C6-47F0-BEE7-DCC968902F13}" type="sibTrans" cxnId="{D270F92B-4DB8-42B9-A49A-31CF5144AEAE}">
      <dgm:prSet/>
      <dgm:spPr/>
      <dgm:t>
        <a:bodyPr/>
        <a:lstStyle/>
        <a:p>
          <a:endParaRPr lang="sv-SE" sz="1600">
            <a:latin typeface="+mn-lt"/>
          </a:endParaRPr>
        </a:p>
      </dgm:t>
    </dgm:pt>
    <dgm:pt modelId="{FE7E086E-8A4C-41E6-B775-A26ACB9C3512}" type="parTrans" cxnId="{D270F92B-4DB8-42B9-A49A-31CF5144AEAE}">
      <dgm:prSet/>
      <dgm:spPr/>
      <dgm:t>
        <a:bodyPr/>
        <a:lstStyle/>
        <a:p>
          <a:endParaRPr lang="sv-SE" sz="1600">
            <a:latin typeface="+mn-lt"/>
          </a:endParaRPr>
        </a:p>
      </dgm:t>
    </dgm:pt>
    <dgm:pt modelId="{F0A03FD2-D10D-43B8-B389-B7C5521BB80A}">
      <dgm:prSet phldrT="[Text]" custT="1"/>
      <dgm:spPr/>
      <dgm:t>
        <a:bodyPr lIns="180000"/>
        <a:lstStyle/>
        <a:p>
          <a:r>
            <a:rPr lang="sv-SE" sz="1600" dirty="0">
              <a:latin typeface="+mn-lt"/>
            </a:rPr>
            <a:t>Kunskaper i forskning och statistik  (3/5)</a:t>
          </a:r>
        </a:p>
      </dgm:t>
    </dgm:pt>
    <dgm:pt modelId="{CD8D1A63-D553-49EA-A52D-4C1923C13AF5}" type="sibTrans" cxnId="{9F809F55-0C3A-438D-9071-47600B309588}">
      <dgm:prSet/>
      <dgm:spPr/>
      <dgm:t>
        <a:bodyPr/>
        <a:lstStyle/>
        <a:p>
          <a:endParaRPr lang="sv-SE" sz="1600">
            <a:latin typeface="+mn-lt"/>
          </a:endParaRPr>
        </a:p>
      </dgm:t>
    </dgm:pt>
    <dgm:pt modelId="{A56329E9-34FD-4606-AE2F-D3B7363336FA}" type="parTrans" cxnId="{9F809F55-0C3A-438D-9071-47600B309588}">
      <dgm:prSet/>
      <dgm:spPr/>
      <dgm:t>
        <a:bodyPr/>
        <a:lstStyle/>
        <a:p>
          <a:endParaRPr lang="sv-SE" sz="1600">
            <a:latin typeface="+mn-lt"/>
          </a:endParaRPr>
        </a:p>
      </dgm:t>
    </dgm:pt>
    <dgm:pt modelId="{A7A0380D-8D94-4939-A5E0-F6BB3EEC8C52}" type="pres">
      <dgm:prSet presAssocID="{2C0D2B73-5E86-4A30-BC63-FDF1C4298566}" presName="diagram" presStyleCnt="0">
        <dgm:presLayoutVars>
          <dgm:dir/>
          <dgm:resizeHandles val="exact"/>
        </dgm:presLayoutVars>
      </dgm:prSet>
      <dgm:spPr/>
      <dgm:t>
        <a:bodyPr/>
        <a:lstStyle/>
        <a:p>
          <a:endParaRPr lang="sv-SE"/>
        </a:p>
      </dgm:t>
    </dgm:pt>
    <dgm:pt modelId="{D45B059C-5449-4526-9225-308BA7877E2B}" type="pres">
      <dgm:prSet presAssocID="{E218EF80-E754-4ECE-B66B-481C7A2393D8}" presName="node" presStyleLbl="node1" presStyleIdx="0" presStyleCnt="6">
        <dgm:presLayoutVars>
          <dgm:bulletEnabled val="1"/>
        </dgm:presLayoutVars>
      </dgm:prSet>
      <dgm:spPr/>
      <dgm:t>
        <a:bodyPr/>
        <a:lstStyle/>
        <a:p>
          <a:endParaRPr lang="sv-SE"/>
        </a:p>
      </dgm:t>
    </dgm:pt>
    <dgm:pt modelId="{6D75565A-CBAB-46EB-8B81-260FE23E27C1}" type="pres">
      <dgm:prSet presAssocID="{AAA1C7B8-55C6-47F0-BEE7-DCC968902F13}" presName="sibTrans" presStyleCnt="0"/>
      <dgm:spPr/>
    </dgm:pt>
    <dgm:pt modelId="{95DD211A-996F-4878-A834-DFAE65DB917B}" type="pres">
      <dgm:prSet presAssocID="{1CA7A92E-6F14-4192-B625-F43A8428BC31}" presName="node" presStyleLbl="node1" presStyleIdx="1" presStyleCnt="6">
        <dgm:presLayoutVars>
          <dgm:bulletEnabled val="1"/>
        </dgm:presLayoutVars>
      </dgm:prSet>
      <dgm:spPr/>
      <dgm:t>
        <a:bodyPr/>
        <a:lstStyle/>
        <a:p>
          <a:endParaRPr lang="sv-SE"/>
        </a:p>
      </dgm:t>
    </dgm:pt>
    <dgm:pt modelId="{0983491D-7C58-462B-9292-5C6A80EA7AEB}" type="pres">
      <dgm:prSet presAssocID="{100B9A58-EEB0-4F2A-B52D-A8AA2979C062}" presName="sibTrans" presStyleCnt="0"/>
      <dgm:spPr/>
    </dgm:pt>
    <dgm:pt modelId="{3B21F42C-53FB-4DC1-9415-3CEC911E2AB0}" type="pres">
      <dgm:prSet presAssocID="{1F0CC901-F892-424B-ADFA-60A6E14D7289}" presName="node" presStyleLbl="node1" presStyleIdx="2" presStyleCnt="6">
        <dgm:presLayoutVars>
          <dgm:bulletEnabled val="1"/>
        </dgm:presLayoutVars>
      </dgm:prSet>
      <dgm:spPr/>
      <dgm:t>
        <a:bodyPr/>
        <a:lstStyle/>
        <a:p>
          <a:endParaRPr lang="sv-SE"/>
        </a:p>
      </dgm:t>
    </dgm:pt>
    <dgm:pt modelId="{9B8F2199-2B59-4442-9E1C-1F3C015DF68F}" type="pres">
      <dgm:prSet presAssocID="{494CB5CC-313B-47E4-8EFE-F242066B6EF3}" presName="sibTrans" presStyleCnt="0"/>
      <dgm:spPr/>
    </dgm:pt>
    <dgm:pt modelId="{63F169A3-F016-4F88-9B5F-FECC713CB158}" type="pres">
      <dgm:prSet presAssocID="{F0A03FD2-D10D-43B8-B389-B7C5521BB80A}" presName="node" presStyleLbl="node1" presStyleIdx="3" presStyleCnt="6">
        <dgm:presLayoutVars>
          <dgm:bulletEnabled val="1"/>
        </dgm:presLayoutVars>
      </dgm:prSet>
      <dgm:spPr/>
      <dgm:t>
        <a:bodyPr/>
        <a:lstStyle/>
        <a:p>
          <a:endParaRPr lang="sv-SE"/>
        </a:p>
      </dgm:t>
    </dgm:pt>
    <dgm:pt modelId="{5F413A94-4718-48F2-AE4B-86AEC64D5E92}" type="pres">
      <dgm:prSet presAssocID="{CD8D1A63-D553-49EA-A52D-4C1923C13AF5}" presName="sibTrans" presStyleCnt="0"/>
      <dgm:spPr/>
    </dgm:pt>
    <dgm:pt modelId="{C7F81F66-B715-4F6F-864A-F9592C71680B}" type="pres">
      <dgm:prSet presAssocID="{D94809FE-8BB6-4F1B-8CA6-0BC86BF6E90E}" presName="node" presStyleLbl="node1" presStyleIdx="4" presStyleCnt="6">
        <dgm:presLayoutVars>
          <dgm:bulletEnabled val="1"/>
        </dgm:presLayoutVars>
      </dgm:prSet>
      <dgm:spPr/>
      <dgm:t>
        <a:bodyPr/>
        <a:lstStyle/>
        <a:p>
          <a:endParaRPr lang="sv-SE"/>
        </a:p>
      </dgm:t>
    </dgm:pt>
    <dgm:pt modelId="{173D4FEA-9354-400B-852C-79815627D13C}" type="pres">
      <dgm:prSet presAssocID="{C97D66C5-F0BA-41EA-B99B-5BDF06EF8C40}" presName="sibTrans" presStyleCnt="0"/>
      <dgm:spPr/>
    </dgm:pt>
    <dgm:pt modelId="{CA28BEC8-4800-4F65-810D-A9393A64D02E}" type="pres">
      <dgm:prSet presAssocID="{77CEBE70-445B-456D-A9AC-A7B0676073B6}" presName="node" presStyleLbl="node1" presStyleIdx="5" presStyleCnt="6">
        <dgm:presLayoutVars>
          <dgm:bulletEnabled val="1"/>
        </dgm:presLayoutVars>
      </dgm:prSet>
      <dgm:spPr/>
      <dgm:t>
        <a:bodyPr/>
        <a:lstStyle/>
        <a:p>
          <a:endParaRPr lang="sv-SE"/>
        </a:p>
      </dgm:t>
    </dgm:pt>
  </dgm:ptLst>
  <dgm:cxnLst>
    <dgm:cxn modelId="{7746EA1D-F602-451A-B495-1E830754DD88}" srcId="{2C0D2B73-5E86-4A30-BC63-FDF1C4298566}" destId="{1F0CC901-F892-424B-ADFA-60A6E14D7289}" srcOrd="2" destOrd="0" parTransId="{77917CA1-A039-46B6-B2CF-A92F2AD428BC}" sibTransId="{494CB5CC-313B-47E4-8EFE-F242066B6EF3}"/>
    <dgm:cxn modelId="{25DE627F-5703-449F-A2F7-08778F2281BF}" srcId="{2C0D2B73-5E86-4A30-BC63-FDF1C4298566}" destId="{1CA7A92E-6F14-4192-B625-F43A8428BC31}" srcOrd="1" destOrd="0" parTransId="{C0992898-5618-427F-A5B1-D078A54D4761}" sibTransId="{100B9A58-EEB0-4F2A-B52D-A8AA2979C062}"/>
    <dgm:cxn modelId="{4C74801C-82F0-477F-9517-F2107499FB4E}" type="presOf" srcId="{1CA7A92E-6F14-4192-B625-F43A8428BC31}" destId="{95DD211A-996F-4878-A834-DFAE65DB917B}" srcOrd="0" destOrd="0" presId="urn:microsoft.com/office/officeart/2005/8/layout/default"/>
    <dgm:cxn modelId="{D078A69D-F7E3-4CCA-93F7-F02B9D822E1C}" type="presOf" srcId="{2C0D2B73-5E86-4A30-BC63-FDF1C4298566}" destId="{A7A0380D-8D94-4939-A5E0-F6BB3EEC8C52}" srcOrd="0" destOrd="0" presId="urn:microsoft.com/office/officeart/2005/8/layout/default"/>
    <dgm:cxn modelId="{BEBD0972-796F-43EE-BF77-E289D8D3FB09}" srcId="{2C0D2B73-5E86-4A30-BC63-FDF1C4298566}" destId="{D94809FE-8BB6-4F1B-8CA6-0BC86BF6E90E}" srcOrd="4" destOrd="0" parTransId="{6E7C7A58-C614-4042-98EA-D372ED401BB1}" sibTransId="{C97D66C5-F0BA-41EA-B99B-5BDF06EF8C40}"/>
    <dgm:cxn modelId="{7185902A-2A47-4237-A99A-52823D7CDC73}" type="presOf" srcId="{1F0CC901-F892-424B-ADFA-60A6E14D7289}" destId="{3B21F42C-53FB-4DC1-9415-3CEC911E2AB0}" srcOrd="0" destOrd="0" presId="urn:microsoft.com/office/officeart/2005/8/layout/default"/>
    <dgm:cxn modelId="{7DA6074C-6F41-4555-89C8-5D00A4550DF5}" type="presOf" srcId="{77CEBE70-445B-456D-A9AC-A7B0676073B6}" destId="{CA28BEC8-4800-4F65-810D-A9393A64D02E}" srcOrd="0" destOrd="0" presId="urn:microsoft.com/office/officeart/2005/8/layout/default"/>
    <dgm:cxn modelId="{D394DB39-8B08-4A99-A5EE-E5F076825859}" type="presOf" srcId="{E218EF80-E754-4ECE-B66B-481C7A2393D8}" destId="{D45B059C-5449-4526-9225-308BA7877E2B}" srcOrd="0" destOrd="0" presId="urn:microsoft.com/office/officeart/2005/8/layout/default"/>
    <dgm:cxn modelId="{6210F7FE-92E3-4E52-B27A-B127EA4EB189}" srcId="{2C0D2B73-5E86-4A30-BC63-FDF1C4298566}" destId="{77CEBE70-445B-456D-A9AC-A7B0676073B6}" srcOrd="5" destOrd="0" parTransId="{B9F8EE39-E4C8-478E-B778-F9B439AFB2D0}" sibTransId="{451FBD91-6131-4CC9-A294-8B988C9F3660}"/>
    <dgm:cxn modelId="{D270F92B-4DB8-42B9-A49A-31CF5144AEAE}" srcId="{2C0D2B73-5E86-4A30-BC63-FDF1C4298566}" destId="{E218EF80-E754-4ECE-B66B-481C7A2393D8}" srcOrd="0" destOrd="0" parTransId="{FE7E086E-8A4C-41E6-B775-A26ACB9C3512}" sibTransId="{AAA1C7B8-55C6-47F0-BEE7-DCC968902F13}"/>
    <dgm:cxn modelId="{AAFFACF5-D30D-48B6-9C28-F4205ADCA38C}" type="presOf" srcId="{D94809FE-8BB6-4F1B-8CA6-0BC86BF6E90E}" destId="{C7F81F66-B715-4F6F-864A-F9592C71680B}" srcOrd="0" destOrd="0" presId="urn:microsoft.com/office/officeart/2005/8/layout/default"/>
    <dgm:cxn modelId="{9F809F55-0C3A-438D-9071-47600B309588}" srcId="{2C0D2B73-5E86-4A30-BC63-FDF1C4298566}" destId="{F0A03FD2-D10D-43B8-B389-B7C5521BB80A}" srcOrd="3" destOrd="0" parTransId="{A56329E9-34FD-4606-AE2F-D3B7363336FA}" sibTransId="{CD8D1A63-D553-49EA-A52D-4C1923C13AF5}"/>
    <dgm:cxn modelId="{EC42C4A4-5D05-4D88-ABDD-9F9A6AFC5492}" type="presOf" srcId="{F0A03FD2-D10D-43B8-B389-B7C5521BB80A}" destId="{63F169A3-F016-4F88-9B5F-FECC713CB158}" srcOrd="0" destOrd="0" presId="urn:microsoft.com/office/officeart/2005/8/layout/default"/>
    <dgm:cxn modelId="{82F56FD2-356A-449D-898F-5C6AA2FB482A}" type="presParOf" srcId="{A7A0380D-8D94-4939-A5E0-F6BB3EEC8C52}" destId="{D45B059C-5449-4526-9225-308BA7877E2B}" srcOrd="0" destOrd="0" presId="urn:microsoft.com/office/officeart/2005/8/layout/default"/>
    <dgm:cxn modelId="{63197EF9-7712-4933-B739-6866952C1B49}" type="presParOf" srcId="{A7A0380D-8D94-4939-A5E0-F6BB3EEC8C52}" destId="{6D75565A-CBAB-46EB-8B81-260FE23E27C1}" srcOrd="1" destOrd="0" presId="urn:microsoft.com/office/officeart/2005/8/layout/default"/>
    <dgm:cxn modelId="{2DD3DBE0-3200-4D6B-B3F7-1A897F9920DB}" type="presParOf" srcId="{A7A0380D-8D94-4939-A5E0-F6BB3EEC8C52}" destId="{95DD211A-996F-4878-A834-DFAE65DB917B}" srcOrd="2" destOrd="0" presId="urn:microsoft.com/office/officeart/2005/8/layout/default"/>
    <dgm:cxn modelId="{1227D7CC-27F3-432C-8270-554FD3B8C091}" type="presParOf" srcId="{A7A0380D-8D94-4939-A5E0-F6BB3EEC8C52}" destId="{0983491D-7C58-462B-9292-5C6A80EA7AEB}" srcOrd="3" destOrd="0" presId="urn:microsoft.com/office/officeart/2005/8/layout/default"/>
    <dgm:cxn modelId="{C96D2925-C48B-4581-A686-C8BDDE3D8F48}" type="presParOf" srcId="{A7A0380D-8D94-4939-A5E0-F6BB3EEC8C52}" destId="{3B21F42C-53FB-4DC1-9415-3CEC911E2AB0}" srcOrd="4" destOrd="0" presId="urn:microsoft.com/office/officeart/2005/8/layout/default"/>
    <dgm:cxn modelId="{3F86DAF6-60E3-46A4-9F36-C1F78BD7EFD1}" type="presParOf" srcId="{A7A0380D-8D94-4939-A5E0-F6BB3EEC8C52}" destId="{9B8F2199-2B59-4442-9E1C-1F3C015DF68F}" srcOrd="5" destOrd="0" presId="urn:microsoft.com/office/officeart/2005/8/layout/default"/>
    <dgm:cxn modelId="{B1DB404B-25DB-41E2-9D29-F89EE5E338B7}" type="presParOf" srcId="{A7A0380D-8D94-4939-A5E0-F6BB3EEC8C52}" destId="{63F169A3-F016-4F88-9B5F-FECC713CB158}" srcOrd="6" destOrd="0" presId="urn:microsoft.com/office/officeart/2005/8/layout/default"/>
    <dgm:cxn modelId="{DC8DF9F4-3EFD-4254-83F1-6E92327D6C18}" type="presParOf" srcId="{A7A0380D-8D94-4939-A5E0-F6BB3EEC8C52}" destId="{5F413A94-4718-48F2-AE4B-86AEC64D5E92}" srcOrd="7" destOrd="0" presId="urn:microsoft.com/office/officeart/2005/8/layout/default"/>
    <dgm:cxn modelId="{DA7BB01B-226D-4AF8-A378-7D9DB4B05DAB}" type="presParOf" srcId="{A7A0380D-8D94-4939-A5E0-F6BB3EEC8C52}" destId="{C7F81F66-B715-4F6F-864A-F9592C71680B}" srcOrd="8" destOrd="0" presId="urn:microsoft.com/office/officeart/2005/8/layout/default"/>
    <dgm:cxn modelId="{E03AC9AD-C61F-40B2-A59C-AD96E67FEA08}" type="presParOf" srcId="{A7A0380D-8D94-4939-A5E0-F6BB3EEC8C52}" destId="{173D4FEA-9354-400B-852C-79815627D13C}" srcOrd="9" destOrd="0" presId="urn:microsoft.com/office/officeart/2005/8/layout/default"/>
    <dgm:cxn modelId="{86BDD055-1DFB-40C3-8252-BAC17F04803C}" type="presParOf" srcId="{A7A0380D-8D94-4939-A5E0-F6BB3EEC8C52}" destId="{CA28BEC8-4800-4F65-810D-A9393A64D02E}"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281799D-EC04-4225-AF0A-80B51DA2851B}"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sv-SE"/>
        </a:p>
      </dgm:t>
    </dgm:pt>
    <dgm:pt modelId="{15506C12-9C5E-47B1-BA44-394426909CFB}">
      <dgm:prSet phldrT="[Text]" custT="1"/>
      <dgm:spPr>
        <a:solidFill>
          <a:srgbClr val="E6460A">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670" tIns="26670" rIns="26670" bIns="26670" numCol="1" spcCol="1270" anchor="ctr" anchorCtr="0"/>
        <a:lstStyle/>
        <a:p>
          <a:pPr marL="0" lvl="0" indent="0" algn="ctr" defTabSz="622300">
            <a:lnSpc>
              <a:spcPct val="90000"/>
            </a:lnSpc>
            <a:spcBef>
              <a:spcPct val="0"/>
            </a:spcBef>
            <a:spcAft>
              <a:spcPct val="35000"/>
            </a:spcAft>
            <a:buNone/>
          </a:pPr>
          <a:r>
            <a:rPr lang="sv-SE" sz="1400" kern="1200" dirty="0">
              <a:solidFill>
                <a:prstClr val="white"/>
              </a:solidFill>
              <a:latin typeface="Arial"/>
              <a:ea typeface="+mn-ea"/>
              <a:cs typeface="+mn-cs"/>
            </a:rPr>
            <a:t>Grundutbildning </a:t>
          </a:r>
        </a:p>
      </dgm:t>
    </dgm:pt>
    <dgm:pt modelId="{F69286E0-B890-4E67-BC71-248C7C78FE6F}" type="parTrans" cxnId="{0EB76EF3-20A5-4C2E-8A5E-1A5A05CFF7B4}">
      <dgm:prSet/>
      <dgm:spPr/>
      <dgm:t>
        <a:bodyPr/>
        <a:lstStyle/>
        <a:p>
          <a:endParaRPr lang="sv-SE" sz="1400"/>
        </a:p>
      </dgm:t>
    </dgm:pt>
    <dgm:pt modelId="{8B4C4A18-A2AD-4807-B01E-6F214DCE1D70}" type="sibTrans" cxnId="{0EB76EF3-20A5-4C2E-8A5E-1A5A05CFF7B4}">
      <dgm:prSet/>
      <dgm:spPr/>
      <dgm:t>
        <a:bodyPr/>
        <a:lstStyle/>
        <a:p>
          <a:endParaRPr lang="sv-SE" sz="1400"/>
        </a:p>
      </dgm:t>
    </dgm:pt>
    <dgm:pt modelId="{990724C4-F006-4D82-9449-033447B33FE2}">
      <dgm:prSet phldrT="[Text]" custT="1"/>
      <dgm:spPr>
        <a:solidFill>
          <a:schemeClr val="accent3"/>
        </a:solidFill>
      </dgm:spPr>
      <dgm:t>
        <a:bodyPr/>
        <a:lstStyle/>
        <a:p>
          <a:r>
            <a:rPr lang="sv-SE" sz="1400" dirty="0"/>
            <a:t>Antagningspoäng/</a:t>
          </a:r>
        </a:p>
        <a:p>
          <a:r>
            <a:rPr lang="sv-SE" sz="1400" dirty="0"/>
            <a:t>antagningsmöjlighet</a:t>
          </a:r>
        </a:p>
      </dgm:t>
    </dgm:pt>
    <dgm:pt modelId="{785E82C7-62CA-4F01-9557-F5F24E886102}" type="parTrans" cxnId="{238706A7-416F-478F-9D78-C6047931D1C0}">
      <dgm:prSet/>
      <dgm:spPr>
        <a:noFill/>
      </dgm:spPr>
      <dgm:t>
        <a:bodyPr/>
        <a:lstStyle/>
        <a:p>
          <a:endParaRPr lang="sv-SE" sz="1400"/>
        </a:p>
      </dgm:t>
    </dgm:pt>
    <dgm:pt modelId="{4E05CA4F-89B1-4346-901A-54BFF5521954}" type="sibTrans" cxnId="{238706A7-416F-478F-9D78-C6047931D1C0}">
      <dgm:prSet/>
      <dgm:spPr/>
      <dgm:t>
        <a:bodyPr/>
        <a:lstStyle/>
        <a:p>
          <a:endParaRPr lang="sv-SE" sz="1400"/>
        </a:p>
      </dgm:t>
    </dgm:pt>
    <dgm:pt modelId="{D3CD31A6-A3C7-4563-ADB8-C79ED00F40DB}">
      <dgm:prSet phldrT="[Text]" custT="1"/>
      <dgm:spPr/>
      <dgm:t>
        <a:bodyPr/>
        <a:lstStyle/>
        <a:p>
          <a:r>
            <a:rPr lang="sv-SE" sz="1400" dirty="0"/>
            <a:t>Personliga egenskaper</a:t>
          </a:r>
        </a:p>
      </dgm:t>
    </dgm:pt>
    <dgm:pt modelId="{742B2A3F-AFDF-4C32-9A22-0040E2FAC6DF}" type="parTrans" cxnId="{1121ADF4-2BE9-40B1-99FE-54270ACB4C44}">
      <dgm:prSet/>
      <dgm:spPr>
        <a:noFill/>
      </dgm:spPr>
      <dgm:t>
        <a:bodyPr/>
        <a:lstStyle/>
        <a:p>
          <a:endParaRPr lang="sv-SE" sz="1400"/>
        </a:p>
      </dgm:t>
    </dgm:pt>
    <dgm:pt modelId="{6B7729DA-8B04-477A-9A3F-69EB716D923E}" type="sibTrans" cxnId="{1121ADF4-2BE9-40B1-99FE-54270ACB4C44}">
      <dgm:prSet/>
      <dgm:spPr/>
      <dgm:t>
        <a:bodyPr/>
        <a:lstStyle/>
        <a:p>
          <a:endParaRPr lang="sv-SE" sz="1400"/>
        </a:p>
      </dgm:t>
    </dgm:pt>
    <dgm:pt modelId="{96E850DE-691A-4441-B5DE-FBA574EB0B72}">
      <dgm:prSet phldrT="[Text]" custT="1"/>
      <dgm:spPr/>
      <dgm:t>
        <a:bodyPr/>
        <a:lstStyle/>
        <a:p>
          <a:r>
            <a:rPr lang="sv-SE" sz="1400" dirty="0"/>
            <a:t>Ålder och livserfarenhet</a:t>
          </a:r>
        </a:p>
      </dgm:t>
    </dgm:pt>
    <dgm:pt modelId="{D909AE3E-7D2E-49E5-A13A-9D9F84C0E598}" type="sibTrans" cxnId="{6456E3D9-B885-49D9-BC35-CE40665F6CD5}">
      <dgm:prSet/>
      <dgm:spPr/>
      <dgm:t>
        <a:bodyPr/>
        <a:lstStyle/>
        <a:p>
          <a:endParaRPr lang="sv-SE" sz="1400"/>
        </a:p>
      </dgm:t>
    </dgm:pt>
    <dgm:pt modelId="{FD6E4880-885A-49BF-A900-72BD8A3B2CEA}" type="parTrans" cxnId="{6456E3D9-B885-49D9-BC35-CE40665F6CD5}">
      <dgm:prSet/>
      <dgm:spPr>
        <a:noFill/>
      </dgm:spPr>
      <dgm:t>
        <a:bodyPr/>
        <a:lstStyle/>
        <a:p>
          <a:endParaRPr lang="sv-SE" sz="1400"/>
        </a:p>
      </dgm:t>
    </dgm:pt>
    <dgm:pt modelId="{C4C913C9-71CB-4AF4-838D-3CA26C41FF8C}">
      <dgm:prSet custT="1"/>
      <dgm:spPr/>
      <dgm:t>
        <a:bodyPr/>
        <a:lstStyle/>
        <a:p>
          <a:r>
            <a:rPr lang="sv-SE" sz="1400" dirty="0"/>
            <a:t>Personlig mognad</a:t>
          </a:r>
        </a:p>
      </dgm:t>
    </dgm:pt>
    <dgm:pt modelId="{20058993-E7D2-48DE-8794-2C94BE09FC47}" type="parTrans" cxnId="{A68C2D95-7F36-4C20-A377-3133F0753173}">
      <dgm:prSet/>
      <dgm:spPr>
        <a:noFill/>
      </dgm:spPr>
      <dgm:t>
        <a:bodyPr/>
        <a:lstStyle/>
        <a:p>
          <a:endParaRPr lang="sv-SE" sz="1400"/>
        </a:p>
      </dgm:t>
    </dgm:pt>
    <dgm:pt modelId="{678FAC89-6D0C-41D2-9143-B61C1CBC408C}" type="sibTrans" cxnId="{A68C2D95-7F36-4C20-A377-3133F0753173}">
      <dgm:prSet/>
      <dgm:spPr/>
      <dgm:t>
        <a:bodyPr/>
        <a:lstStyle/>
        <a:p>
          <a:endParaRPr lang="sv-SE" sz="1400"/>
        </a:p>
      </dgm:t>
    </dgm:pt>
    <dgm:pt modelId="{4C0EC43C-5CCE-4820-BC9B-79B0B52DAE1D}" type="pres">
      <dgm:prSet presAssocID="{F281799D-EC04-4225-AF0A-80B51DA2851B}" presName="cycle" presStyleCnt="0">
        <dgm:presLayoutVars>
          <dgm:chMax val="1"/>
          <dgm:dir/>
          <dgm:animLvl val="ctr"/>
          <dgm:resizeHandles val="exact"/>
        </dgm:presLayoutVars>
      </dgm:prSet>
      <dgm:spPr/>
      <dgm:t>
        <a:bodyPr/>
        <a:lstStyle/>
        <a:p>
          <a:endParaRPr lang="sv-SE"/>
        </a:p>
      </dgm:t>
    </dgm:pt>
    <dgm:pt modelId="{3BBDCD87-0C88-46CD-941B-C26BFDF9819C}" type="pres">
      <dgm:prSet presAssocID="{15506C12-9C5E-47B1-BA44-394426909CFB}" presName="centerShape" presStyleLbl="node0" presStyleIdx="0" presStyleCnt="1" custScaleX="117320"/>
      <dgm:spPr>
        <a:xfrm>
          <a:off x="3900929" y="2147037"/>
          <a:ext cx="1808865" cy="1591400"/>
        </a:xfrm>
        <a:prstGeom prst="ellipse">
          <a:avLst/>
        </a:prstGeom>
      </dgm:spPr>
      <dgm:t>
        <a:bodyPr/>
        <a:lstStyle/>
        <a:p>
          <a:endParaRPr lang="sv-SE"/>
        </a:p>
      </dgm:t>
    </dgm:pt>
    <dgm:pt modelId="{E2FE0277-3753-45EA-9B41-5BCD3BC64B59}" type="pres">
      <dgm:prSet presAssocID="{785E82C7-62CA-4F01-9557-F5F24E886102}" presName="parTrans" presStyleLbl="bgSibTrans2D1" presStyleIdx="0" presStyleCnt="4"/>
      <dgm:spPr/>
      <dgm:t>
        <a:bodyPr/>
        <a:lstStyle/>
        <a:p>
          <a:endParaRPr lang="sv-SE"/>
        </a:p>
      </dgm:t>
    </dgm:pt>
    <dgm:pt modelId="{80070771-3C7E-4F34-B4F0-F37BB2AED0EF}" type="pres">
      <dgm:prSet presAssocID="{990724C4-F006-4D82-9449-033447B33FE2}" presName="node" presStyleLbl="node1" presStyleIdx="0" presStyleCnt="4">
        <dgm:presLayoutVars>
          <dgm:bulletEnabled val="1"/>
        </dgm:presLayoutVars>
      </dgm:prSet>
      <dgm:spPr/>
      <dgm:t>
        <a:bodyPr/>
        <a:lstStyle/>
        <a:p>
          <a:endParaRPr lang="sv-SE"/>
        </a:p>
      </dgm:t>
    </dgm:pt>
    <dgm:pt modelId="{7E07B9A9-D47E-4319-A55E-5029AD72A6D5}" type="pres">
      <dgm:prSet presAssocID="{FD6E4880-885A-49BF-A900-72BD8A3B2CEA}" presName="parTrans" presStyleLbl="bgSibTrans2D1" presStyleIdx="1" presStyleCnt="4"/>
      <dgm:spPr/>
      <dgm:t>
        <a:bodyPr/>
        <a:lstStyle/>
        <a:p>
          <a:endParaRPr lang="sv-SE"/>
        </a:p>
      </dgm:t>
    </dgm:pt>
    <dgm:pt modelId="{5A130F46-487B-498C-9ED6-63343442435B}" type="pres">
      <dgm:prSet presAssocID="{96E850DE-691A-4441-B5DE-FBA574EB0B72}" presName="node" presStyleLbl="node1" presStyleIdx="1" presStyleCnt="4">
        <dgm:presLayoutVars>
          <dgm:bulletEnabled val="1"/>
        </dgm:presLayoutVars>
      </dgm:prSet>
      <dgm:spPr/>
      <dgm:t>
        <a:bodyPr/>
        <a:lstStyle/>
        <a:p>
          <a:endParaRPr lang="sv-SE"/>
        </a:p>
      </dgm:t>
    </dgm:pt>
    <dgm:pt modelId="{A4B8D7CA-FBB0-48E4-9675-92552B426487}" type="pres">
      <dgm:prSet presAssocID="{20058993-E7D2-48DE-8794-2C94BE09FC47}" presName="parTrans" presStyleLbl="bgSibTrans2D1" presStyleIdx="2" presStyleCnt="4"/>
      <dgm:spPr/>
      <dgm:t>
        <a:bodyPr/>
        <a:lstStyle/>
        <a:p>
          <a:endParaRPr lang="sv-SE"/>
        </a:p>
      </dgm:t>
    </dgm:pt>
    <dgm:pt modelId="{0DEF06DE-E0E8-4AE5-B708-929408E44719}" type="pres">
      <dgm:prSet presAssocID="{C4C913C9-71CB-4AF4-838D-3CA26C41FF8C}" presName="node" presStyleLbl="node1" presStyleIdx="2" presStyleCnt="4">
        <dgm:presLayoutVars>
          <dgm:bulletEnabled val="1"/>
        </dgm:presLayoutVars>
      </dgm:prSet>
      <dgm:spPr/>
      <dgm:t>
        <a:bodyPr/>
        <a:lstStyle/>
        <a:p>
          <a:endParaRPr lang="sv-SE"/>
        </a:p>
      </dgm:t>
    </dgm:pt>
    <dgm:pt modelId="{2160CB61-C8B6-4748-96B3-212B1FC07AA7}" type="pres">
      <dgm:prSet presAssocID="{742B2A3F-AFDF-4C32-9A22-0040E2FAC6DF}" presName="parTrans" presStyleLbl="bgSibTrans2D1" presStyleIdx="3" presStyleCnt="4"/>
      <dgm:spPr/>
      <dgm:t>
        <a:bodyPr/>
        <a:lstStyle/>
        <a:p>
          <a:endParaRPr lang="sv-SE"/>
        </a:p>
      </dgm:t>
    </dgm:pt>
    <dgm:pt modelId="{732C75A8-1D59-49BD-A7BA-D95CF09218D0}" type="pres">
      <dgm:prSet presAssocID="{D3CD31A6-A3C7-4563-ADB8-C79ED00F40DB}" presName="node" presStyleLbl="node1" presStyleIdx="3" presStyleCnt="4">
        <dgm:presLayoutVars>
          <dgm:bulletEnabled val="1"/>
        </dgm:presLayoutVars>
      </dgm:prSet>
      <dgm:spPr/>
      <dgm:t>
        <a:bodyPr/>
        <a:lstStyle/>
        <a:p>
          <a:endParaRPr lang="sv-SE"/>
        </a:p>
      </dgm:t>
    </dgm:pt>
  </dgm:ptLst>
  <dgm:cxnLst>
    <dgm:cxn modelId="{0F683012-02FA-4D42-8BFD-C08A99AB7882}" type="presOf" srcId="{FD6E4880-885A-49BF-A900-72BD8A3B2CEA}" destId="{7E07B9A9-D47E-4319-A55E-5029AD72A6D5}" srcOrd="0" destOrd="0" presId="urn:microsoft.com/office/officeart/2005/8/layout/radial4"/>
    <dgm:cxn modelId="{FC75B4ED-183C-4F65-A01F-63C04977AAFD}" type="presOf" srcId="{15506C12-9C5E-47B1-BA44-394426909CFB}" destId="{3BBDCD87-0C88-46CD-941B-C26BFDF9819C}" srcOrd="0" destOrd="0" presId="urn:microsoft.com/office/officeart/2005/8/layout/radial4"/>
    <dgm:cxn modelId="{5DAD288B-916B-437B-B367-3008A2212DC3}" type="presOf" srcId="{785E82C7-62CA-4F01-9557-F5F24E886102}" destId="{E2FE0277-3753-45EA-9B41-5BCD3BC64B59}" srcOrd="0" destOrd="0" presId="urn:microsoft.com/office/officeart/2005/8/layout/radial4"/>
    <dgm:cxn modelId="{4A06ADEA-3417-4FF7-99B4-A5042200DF04}" type="presOf" srcId="{742B2A3F-AFDF-4C32-9A22-0040E2FAC6DF}" destId="{2160CB61-C8B6-4748-96B3-212B1FC07AA7}" srcOrd="0" destOrd="0" presId="urn:microsoft.com/office/officeart/2005/8/layout/radial4"/>
    <dgm:cxn modelId="{85C05557-FF61-42AA-A605-2536915E14F6}" type="presOf" srcId="{96E850DE-691A-4441-B5DE-FBA574EB0B72}" destId="{5A130F46-487B-498C-9ED6-63343442435B}" srcOrd="0" destOrd="0" presId="urn:microsoft.com/office/officeart/2005/8/layout/radial4"/>
    <dgm:cxn modelId="{7C662A20-0505-4AC1-A69A-64EF984E3D43}" type="presOf" srcId="{C4C913C9-71CB-4AF4-838D-3CA26C41FF8C}" destId="{0DEF06DE-E0E8-4AE5-B708-929408E44719}" srcOrd="0" destOrd="0" presId="urn:microsoft.com/office/officeart/2005/8/layout/radial4"/>
    <dgm:cxn modelId="{875B137D-EE6E-40CD-ADC2-865628DC7F90}" type="presOf" srcId="{990724C4-F006-4D82-9449-033447B33FE2}" destId="{80070771-3C7E-4F34-B4F0-F37BB2AED0EF}" srcOrd="0" destOrd="0" presId="urn:microsoft.com/office/officeart/2005/8/layout/radial4"/>
    <dgm:cxn modelId="{9AE6BC3C-FE4B-40AB-A899-D9EF191D9E36}" type="presOf" srcId="{20058993-E7D2-48DE-8794-2C94BE09FC47}" destId="{A4B8D7CA-FBB0-48E4-9675-92552B426487}" srcOrd="0" destOrd="0" presId="urn:microsoft.com/office/officeart/2005/8/layout/radial4"/>
    <dgm:cxn modelId="{A68C2D95-7F36-4C20-A377-3133F0753173}" srcId="{15506C12-9C5E-47B1-BA44-394426909CFB}" destId="{C4C913C9-71CB-4AF4-838D-3CA26C41FF8C}" srcOrd="2" destOrd="0" parTransId="{20058993-E7D2-48DE-8794-2C94BE09FC47}" sibTransId="{678FAC89-6D0C-41D2-9143-B61C1CBC408C}"/>
    <dgm:cxn modelId="{1121ADF4-2BE9-40B1-99FE-54270ACB4C44}" srcId="{15506C12-9C5E-47B1-BA44-394426909CFB}" destId="{D3CD31A6-A3C7-4563-ADB8-C79ED00F40DB}" srcOrd="3" destOrd="0" parTransId="{742B2A3F-AFDF-4C32-9A22-0040E2FAC6DF}" sibTransId="{6B7729DA-8B04-477A-9A3F-69EB716D923E}"/>
    <dgm:cxn modelId="{88BED42D-4857-4921-9F0B-CFA20CF327E5}" type="presOf" srcId="{F281799D-EC04-4225-AF0A-80B51DA2851B}" destId="{4C0EC43C-5CCE-4820-BC9B-79B0B52DAE1D}" srcOrd="0" destOrd="0" presId="urn:microsoft.com/office/officeart/2005/8/layout/radial4"/>
    <dgm:cxn modelId="{8FED168A-4674-4C86-9022-0FDD9A8611E9}" type="presOf" srcId="{D3CD31A6-A3C7-4563-ADB8-C79ED00F40DB}" destId="{732C75A8-1D59-49BD-A7BA-D95CF09218D0}" srcOrd="0" destOrd="0" presId="urn:microsoft.com/office/officeart/2005/8/layout/radial4"/>
    <dgm:cxn modelId="{238706A7-416F-478F-9D78-C6047931D1C0}" srcId="{15506C12-9C5E-47B1-BA44-394426909CFB}" destId="{990724C4-F006-4D82-9449-033447B33FE2}" srcOrd="0" destOrd="0" parTransId="{785E82C7-62CA-4F01-9557-F5F24E886102}" sibTransId="{4E05CA4F-89B1-4346-901A-54BFF5521954}"/>
    <dgm:cxn modelId="{6456E3D9-B885-49D9-BC35-CE40665F6CD5}" srcId="{15506C12-9C5E-47B1-BA44-394426909CFB}" destId="{96E850DE-691A-4441-B5DE-FBA574EB0B72}" srcOrd="1" destOrd="0" parTransId="{FD6E4880-885A-49BF-A900-72BD8A3B2CEA}" sibTransId="{D909AE3E-7D2E-49E5-A13A-9D9F84C0E598}"/>
    <dgm:cxn modelId="{0EB76EF3-20A5-4C2E-8A5E-1A5A05CFF7B4}" srcId="{F281799D-EC04-4225-AF0A-80B51DA2851B}" destId="{15506C12-9C5E-47B1-BA44-394426909CFB}" srcOrd="0" destOrd="0" parTransId="{F69286E0-B890-4E67-BC71-248C7C78FE6F}" sibTransId="{8B4C4A18-A2AD-4807-B01E-6F214DCE1D70}"/>
    <dgm:cxn modelId="{76460960-5666-424A-84A2-291C00660EEC}" type="presParOf" srcId="{4C0EC43C-5CCE-4820-BC9B-79B0B52DAE1D}" destId="{3BBDCD87-0C88-46CD-941B-C26BFDF9819C}" srcOrd="0" destOrd="0" presId="urn:microsoft.com/office/officeart/2005/8/layout/radial4"/>
    <dgm:cxn modelId="{A7EECCE7-7E4C-41E5-9894-629BB16E5A53}" type="presParOf" srcId="{4C0EC43C-5CCE-4820-BC9B-79B0B52DAE1D}" destId="{E2FE0277-3753-45EA-9B41-5BCD3BC64B59}" srcOrd="1" destOrd="0" presId="urn:microsoft.com/office/officeart/2005/8/layout/radial4"/>
    <dgm:cxn modelId="{6805B4FC-9B65-49AC-AA15-8A630955246C}" type="presParOf" srcId="{4C0EC43C-5CCE-4820-BC9B-79B0B52DAE1D}" destId="{80070771-3C7E-4F34-B4F0-F37BB2AED0EF}" srcOrd="2" destOrd="0" presId="urn:microsoft.com/office/officeart/2005/8/layout/radial4"/>
    <dgm:cxn modelId="{E4BDEB7C-DA3C-487D-A56C-011A6563C27A}" type="presParOf" srcId="{4C0EC43C-5CCE-4820-BC9B-79B0B52DAE1D}" destId="{7E07B9A9-D47E-4319-A55E-5029AD72A6D5}" srcOrd="3" destOrd="0" presId="urn:microsoft.com/office/officeart/2005/8/layout/radial4"/>
    <dgm:cxn modelId="{E6FAA6F7-00F8-475A-9DAC-351BA93427FA}" type="presParOf" srcId="{4C0EC43C-5CCE-4820-BC9B-79B0B52DAE1D}" destId="{5A130F46-487B-498C-9ED6-63343442435B}" srcOrd="4" destOrd="0" presId="urn:microsoft.com/office/officeart/2005/8/layout/radial4"/>
    <dgm:cxn modelId="{54E4395A-7FDA-4F50-BC97-E1A205550193}" type="presParOf" srcId="{4C0EC43C-5CCE-4820-BC9B-79B0B52DAE1D}" destId="{A4B8D7CA-FBB0-48E4-9675-92552B426487}" srcOrd="5" destOrd="0" presId="urn:microsoft.com/office/officeart/2005/8/layout/radial4"/>
    <dgm:cxn modelId="{9399472B-02DC-43B4-B4BA-D64BCA822841}" type="presParOf" srcId="{4C0EC43C-5CCE-4820-BC9B-79B0B52DAE1D}" destId="{0DEF06DE-E0E8-4AE5-B708-929408E44719}" srcOrd="6" destOrd="0" presId="urn:microsoft.com/office/officeart/2005/8/layout/radial4"/>
    <dgm:cxn modelId="{00EFF514-7E5D-4672-8A00-6D6AD2656F9E}" type="presParOf" srcId="{4C0EC43C-5CCE-4820-BC9B-79B0B52DAE1D}" destId="{2160CB61-C8B6-4748-96B3-212B1FC07AA7}" srcOrd="7" destOrd="0" presId="urn:microsoft.com/office/officeart/2005/8/layout/radial4"/>
    <dgm:cxn modelId="{EB71CB4F-EBBE-4A47-A4A2-A8BAC547D129}" type="presParOf" srcId="{4C0EC43C-5CCE-4820-BC9B-79B0B52DAE1D}" destId="{732C75A8-1D59-49BD-A7BA-D95CF09218D0}" srcOrd="8"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C810C2A-1E3D-433B-B031-E25F2FB2C2C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sv-SE"/>
        </a:p>
      </dgm:t>
    </dgm:pt>
    <dgm:pt modelId="{49AF5080-6AC3-4853-A847-5F6D5308B7BF}">
      <dgm:prSet phldrT="[Text]" custT="1"/>
      <dgm:spPr/>
      <dgm:t>
        <a:bodyPr spcFirstLastPara="0" vert="horz" wrap="square" lIns="26670" tIns="26670" rIns="26670" bIns="26670" numCol="1" spcCol="1270" anchor="ctr" anchorCtr="0"/>
        <a:lstStyle/>
        <a:p>
          <a:pPr marL="0" lvl="0" indent="0" algn="ctr" defTabSz="622300">
            <a:lnSpc>
              <a:spcPct val="90000"/>
            </a:lnSpc>
            <a:spcBef>
              <a:spcPct val="0"/>
            </a:spcBef>
            <a:spcAft>
              <a:spcPct val="35000"/>
            </a:spcAft>
            <a:buNone/>
          </a:pPr>
          <a:r>
            <a:rPr lang="sv-SE" sz="1400" kern="1200">
              <a:latin typeface="Arial"/>
              <a:ea typeface="+mn-ea"/>
              <a:cs typeface="+mn-cs"/>
            </a:rPr>
            <a:t>Grundutbildning</a:t>
          </a:r>
          <a:endParaRPr lang="sv-SE" sz="1400" kern="1200" dirty="0">
            <a:latin typeface="Arial"/>
            <a:ea typeface="+mn-ea"/>
            <a:cs typeface="+mn-cs"/>
          </a:endParaRPr>
        </a:p>
      </dgm:t>
    </dgm:pt>
    <dgm:pt modelId="{550017B7-E305-4269-84C1-940217DD4D9C}" type="parTrans" cxnId="{CED97D37-C402-4D1D-A11A-398669B498A6}">
      <dgm:prSet/>
      <dgm:spPr/>
      <dgm:t>
        <a:bodyPr/>
        <a:lstStyle/>
        <a:p>
          <a:endParaRPr lang="sv-SE" sz="1200"/>
        </a:p>
      </dgm:t>
    </dgm:pt>
    <dgm:pt modelId="{9CBE2F7D-6D02-496C-A1C7-8A9130301F6A}" type="sibTrans" cxnId="{CED97D37-C402-4D1D-A11A-398669B498A6}">
      <dgm:prSet/>
      <dgm:spPr/>
      <dgm:t>
        <a:bodyPr/>
        <a:lstStyle/>
        <a:p>
          <a:endParaRPr lang="sv-SE" sz="1200"/>
        </a:p>
      </dgm:t>
    </dgm:pt>
    <dgm:pt modelId="{AF1A53BC-2B94-426A-A4ED-98B74F4DD2B5}">
      <dgm:prSet phldrT="[Text]" custT="1"/>
      <dgm:spPr/>
      <dgm:t>
        <a:bodyPr/>
        <a:lstStyle/>
        <a:p>
          <a:r>
            <a:rPr lang="sv-SE" sz="1200" dirty="0"/>
            <a:t>Tolkning av examensmål </a:t>
          </a:r>
        </a:p>
      </dgm:t>
    </dgm:pt>
    <dgm:pt modelId="{412C2C91-AA5E-44A7-8C34-7AB48958DEFE}" type="parTrans" cxnId="{E5FB95FB-8EBB-46E9-8444-B54DE35D14DB}">
      <dgm:prSet/>
      <dgm:spPr/>
      <dgm:t>
        <a:bodyPr/>
        <a:lstStyle/>
        <a:p>
          <a:endParaRPr lang="sv-SE" sz="1200"/>
        </a:p>
      </dgm:t>
    </dgm:pt>
    <dgm:pt modelId="{90CF2B11-482F-487C-A41B-5E8D0EA37118}" type="sibTrans" cxnId="{E5FB95FB-8EBB-46E9-8444-B54DE35D14DB}">
      <dgm:prSet/>
      <dgm:spPr/>
      <dgm:t>
        <a:bodyPr/>
        <a:lstStyle/>
        <a:p>
          <a:endParaRPr lang="sv-SE" sz="1200"/>
        </a:p>
      </dgm:t>
    </dgm:pt>
    <dgm:pt modelId="{0D6A3E80-716C-4AAF-A0F6-F2B0EEF6C8BE}">
      <dgm:prSet phldrT="[Text]" custT="1"/>
      <dgm:spPr/>
      <dgm:t>
        <a:bodyPr/>
        <a:lstStyle/>
        <a:p>
          <a:r>
            <a:rPr lang="sv-SE" sz="1200" dirty="0"/>
            <a:t>Lärosätenas egna kursmål </a:t>
          </a:r>
        </a:p>
      </dgm:t>
    </dgm:pt>
    <dgm:pt modelId="{5E346673-B4B0-4CBA-AC5D-FC9E3BC943CE}" type="parTrans" cxnId="{899BF373-9A37-4E5A-90A1-5D07A0ADB7BE}">
      <dgm:prSet/>
      <dgm:spPr/>
      <dgm:t>
        <a:bodyPr/>
        <a:lstStyle/>
        <a:p>
          <a:endParaRPr lang="sv-SE" sz="1200"/>
        </a:p>
      </dgm:t>
    </dgm:pt>
    <dgm:pt modelId="{23921064-EF00-4083-8B62-A9D1682C38B6}" type="sibTrans" cxnId="{899BF373-9A37-4E5A-90A1-5D07A0ADB7BE}">
      <dgm:prSet/>
      <dgm:spPr/>
      <dgm:t>
        <a:bodyPr/>
        <a:lstStyle/>
        <a:p>
          <a:endParaRPr lang="sv-SE" sz="1200"/>
        </a:p>
      </dgm:t>
    </dgm:pt>
    <dgm:pt modelId="{B14E2CEC-E220-4CB6-A90D-ADA92D42CB09}">
      <dgm:prSet phldrT="[Text]" custT="1"/>
      <dgm:spPr/>
      <dgm:t>
        <a:bodyPr/>
        <a:lstStyle/>
        <a:p>
          <a:r>
            <a:rPr lang="sv-SE" sz="1200" dirty="0"/>
            <a:t>Antal lärarledda lektioner</a:t>
          </a:r>
        </a:p>
      </dgm:t>
    </dgm:pt>
    <dgm:pt modelId="{1777F0AF-BEDD-45D5-A1F2-505AC6241E11}" type="parTrans" cxnId="{72454D33-FBCF-4D9F-B1B9-6540BE841A6F}">
      <dgm:prSet/>
      <dgm:spPr/>
      <dgm:t>
        <a:bodyPr/>
        <a:lstStyle/>
        <a:p>
          <a:endParaRPr lang="sv-SE" sz="1200"/>
        </a:p>
      </dgm:t>
    </dgm:pt>
    <dgm:pt modelId="{927AF7F2-6FA8-4921-B225-1B5F21161C7C}" type="sibTrans" cxnId="{72454D33-FBCF-4D9F-B1B9-6540BE841A6F}">
      <dgm:prSet/>
      <dgm:spPr/>
      <dgm:t>
        <a:bodyPr/>
        <a:lstStyle/>
        <a:p>
          <a:endParaRPr lang="sv-SE" sz="1200"/>
        </a:p>
      </dgm:t>
    </dgm:pt>
    <dgm:pt modelId="{5237D8E0-94F5-47C4-B685-BB9D13EF9C18}">
      <dgm:prSet custT="1"/>
      <dgm:spPr/>
      <dgm:t>
        <a:bodyPr/>
        <a:lstStyle/>
        <a:p>
          <a:r>
            <a:rPr lang="sv-SE" sz="1200" dirty="0"/>
            <a:t>Antal disputerade lärare</a:t>
          </a:r>
        </a:p>
      </dgm:t>
    </dgm:pt>
    <dgm:pt modelId="{46E2A10D-2559-4095-91E2-4BB4410C3588}" type="parTrans" cxnId="{D0BFF3B1-D616-4C01-ABEB-E3C9427BE974}">
      <dgm:prSet/>
      <dgm:spPr/>
      <dgm:t>
        <a:bodyPr/>
        <a:lstStyle/>
        <a:p>
          <a:endParaRPr lang="sv-SE" sz="1200"/>
        </a:p>
      </dgm:t>
    </dgm:pt>
    <dgm:pt modelId="{9A6DC3ED-694C-4AD2-82E5-A0A3C57C4F9A}" type="sibTrans" cxnId="{D0BFF3B1-D616-4C01-ABEB-E3C9427BE974}">
      <dgm:prSet/>
      <dgm:spPr/>
      <dgm:t>
        <a:bodyPr/>
        <a:lstStyle/>
        <a:p>
          <a:endParaRPr lang="sv-SE" sz="1200"/>
        </a:p>
      </dgm:t>
    </dgm:pt>
    <dgm:pt modelId="{5E091442-5788-4B60-B557-92036E85944A}">
      <dgm:prSet custT="1"/>
      <dgm:spPr/>
      <dgm:t>
        <a:bodyPr/>
        <a:lstStyle/>
        <a:p>
          <a:r>
            <a:rPr lang="sv-SE" sz="1200" dirty="0"/>
            <a:t>Antal disputerade lärare som har yrkeserfarenhet från socialtjänstens arbete</a:t>
          </a:r>
        </a:p>
      </dgm:t>
    </dgm:pt>
    <dgm:pt modelId="{EE13A681-561F-4013-9281-E8275A948EA4}" type="parTrans" cxnId="{F07DCD7B-AA69-455B-AAE2-65701B944F07}">
      <dgm:prSet/>
      <dgm:spPr/>
      <dgm:t>
        <a:bodyPr/>
        <a:lstStyle/>
        <a:p>
          <a:endParaRPr lang="sv-SE" sz="1200"/>
        </a:p>
      </dgm:t>
    </dgm:pt>
    <dgm:pt modelId="{9067FDD4-D9FB-4344-950F-E33FD354A6AA}" type="sibTrans" cxnId="{F07DCD7B-AA69-455B-AAE2-65701B944F07}">
      <dgm:prSet/>
      <dgm:spPr/>
      <dgm:t>
        <a:bodyPr/>
        <a:lstStyle/>
        <a:p>
          <a:endParaRPr lang="sv-SE" sz="1200"/>
        </a:p>
      </dgm:t>
    </dgm:pt>
    <dgm:pt modelId="{1BF648BE-EBDB-4ED6-9B9C-03013642C38C}">
      <dgm:prSet custT="1"/>
      <dgm:spPr/>
      <dgm:t>
        <a:bodyPr/>
        <a:lstStyle/>
        <a:p>
          <a:r>
            <a:rPr lang="sv-SE" sz="1200" dirty="0"/>
            <a:t>VFU och längd på VFU</a:t>
          </a:r>
        </a:p>
      </dgm:t>
    </dgm:pt>
    <dgm:pt modelId="{5039C19B-F668-4E4C-8AE8-790B4E00FB28}" type="parTrans" cxnId="{94DFC411-99DD-4BA8-8CF7-B646BE58DED6}">
      <dgm:prSet/>
      <dgm:spPr/>
      <dgm:t>
        <a:bodyPr/>
        <a:lstStyle/>
        <a:p>
          <a:endParaRPr lang="sv-SE" sz="1200"/>
        </a:p>
      </dgm:t>
    </dgm:pt>
    <dgm:pt modelId="{97DF0D33-4C88-421F-81B3-5723BE4EBC49}" type="sibTrans" cxnId="{94DFC411-99DD-4BA8-8CF7-B646BE58DED6}">
      <dgm:prSet/>
      <dgm:spPr/>
      <dgm:t>
        <a:bodyPr/>
        <a:lstStyle/>
        <a:p>
          <a:endParaRPr lang="sv-SE" sz="1200"/>
        </a:p>
      </dgm:t>
    </dgm:pt>
    <dgm:pt modelId="{0987E4B7-6E3F-4104-AEE5-524C07C618A9}">
      <dgm:prSet custT="1"/>
      <dgm:spPr/>
      <dgm:t>
        <a:bodyPr/>
        <a:lstStyle/>
        <a:p>
          <a:r>
            <a:rPr lang="sv-SE" sz="1200" dirty="0"/>
            <a:t>Antal utbildningsplatser</a:t>
          </a:r>
        </a:p>
      </dgm:t>
    </dgm:pt>
    <dgm:pt modelId="{1D96C61D-0ADD-41E7-9350-0AD75235E00C}" type="parTrans" cxnId="{9A50D3A2-02ED-45A6-AEDF-187122D180A8}">
      <dgm:prSet/>
      <dgm:spPr/>
      <dgm:t>
        <a:bodyPr/>
        <a:lstStyle/>
        <a:p>
          <a:endParaRPr lang="sv-SE" sz="1200"/>
        </a:p>
      </dgm:t>
    </dgm:pt>
    <dgm:pt modelId="{915D4131-62A8-4215-BC71-FD0DBD9EA25C}" type="sibTrans" cxnId="{9A50D3A2-02ED-45A6-AEDF-187122D180A8}">
      <dgm:prSet/>
      <dgm:spPr/>
      <dgm:t>
        <a:bodyPr/>
        <a:lstStyle/>
        <a:p>
          <a:endParaRPr lang="sv-SE" sz="1200"/>
        </a:p>
      </dgm:t>
    </dgm:pt>
    <dgm:pt modelId="{EB9064C4-D008-4597-AC6E-0E8C245D7770}">
      <dgm:prSet custT="1"/>
      <dgm:spPr/>
      <dgm:t>
        <a:bodyPr/>
        <a:lstStyle/>
        <a:p>
          <a:r>
            <a:rPr lang="sv-SE" sz="1200" dirty="0"/>
            <a:t>Master/magister eller specialistutbildning</a:t>
          </a:r>
        </a:p>
      </dgm:t>
    </dgm:pt>
    <dgm:pt modelId="{78DB6E61-9D6F-420B-9680-A71C0A334370}" type="parTrans" cxnId="{D6E43F3E-2065-4684-BDD0-80646F4C0D69}">
      <dgm:prSet/>
      <dgm:spPr/>
      <dgm:t>
        <a:bodyPr/>
        <a:lstStyle/>
        <a:p>
          <a:endParaRPr lang="sv-SE" sz="1200"/>
        </a:p>
      </dgm:t>
    </dgm:pt>
    <dgm:pt modelId="{9EFD0F27-6F95-437D-8942-0F4FC73C20C3}" type="sibTrans" cxnId="{D6E43F3E-2065-4684-BDD0-80646F4C0D69}">
      <dgm:prSet/>
      <dgm:spPr/>
      <dgm:t>
        <a:bodyPr/>
        <a:lstStyle/>
        <a:p>
          <a:endParaRPr lang="sv-SE" sz="1200"/>
        </a:p>
      </dgm:t>
    </dgm:pt>
    <dgm:pt modelId="{57456AE8-1F2E-4C6D-B842-D23067E03286}">
      <dgm:prSet custT="1"/>
      <dgm:spPr/>
      <dgm:t>
        <a:bodyPr/>
        <a:lstStyle/>
        <a:p>
          <a:r>
            <a:rPr lang="sv-SE" sz="1200" dirty="0"/>
            <a:t>Val av  antagningsförfarande</a:t>
          </a:r>
        </a:p>
      </dgm:t>
    </dgm:pt>
    <dgm:pt modelId="{E19646CE-7E09-49D7-AFAE-FCF665D32048}" type="parTrans" cxnId="{083DC0F2-A5AD-49D9-AC11-CBCFE4091A59}">
      <dgm:prSet/>
      <dgm:spPr/>
      <dgm:t>
        <a:bodyPr/>
        <a:lstStyle/>
        <a:p>
          <a:endParaRPr lang="sv-SE"/>
        </a:p>
      </dgm:t>
    </dgm:pt>
    <dgm:pt modelId="{1D8C05BA-F4E4-488F-9F4E-C91FBA4AF725}" type="sibTrans" cxnId="{083DC0F2-A5AD-49D9-AC11-CBCFE4091A59}">
      <dgm:prSet/>
      <dgm:spPr/>
      <dgm:t>
        <a:bodyPr/>
        <a:lstStyle/>
        <a:p>
          <a:endParaRPr lang="sv-SE"/>
        </a:p>
      </dgm:t>
    </dgm:pt>
    <dgm:pt modelId="{EC2BABCA-6B0E-491A-AAD9-DD10D46B25E9}">
      <dgm:prSet/>
      <dgm:spPr/>
      <dgm:t>
        <a:bodyPr/>
        <a:lstStyle/>
        <a:p>
          <a:r>
            <a:rPr lang="sv-SE" dirty="0"/>
            <a:t>Hur de lägger upp kurser, ordning på kurser, antal Högskolepoäng för olika ämnen</a:t>
          </a:r>
        </a:p>
      </dgm:t>
    </dgm:pt>
    <dgm:pt modelId="{47B06A24-E26E-4770-BCEB-C13BE3503D2F}" type="parTrans" cxnId="{F6E9E12A-1EA3-4EAD-ABBB-8698A2AF0343}">
      <dgm:prSet/>
      <dgm:spPr/>
      <dgm:t>
        <a:bodyPr/>
        <a:lstStyle/>
        <a:p>
          <a:endParaRPr lang="sv-SE"/>
        </a:p>
      </dgm:t>
    </dgm:pt>
    <dgm:pt modelId="{BB16E698-C51C-4A04-964B-5DC7F8BFAA10}" type="sibTrans" cxnId="{F6E9E12A-1EA3-4EAD-ABBB-8698A2AF0343}">
      <dgm:prSet/>
      <dgm:spPr/>
      <dgm:t>
        <a:bodyPr/>
        <a:lstStyle/>
        <a:p>
          <a:endParaRPr lang="sv-SE"/>
        </a:p>
      </dgm:t>
    </dgm:pt>
    <dgm:pt modelId="{70086A7F-CC52-4D08-820B-1384D0F5BB19}" type="pres">
      <dgm:prSet presAssocID="{CC810C2A-1E3D-433B-B031-E25F2FB2C2CC}" presName="cycle" presStyleCnt="0">
        <dgm:presLayoutVars>
          <dgm:chMax val="1"/>
          <dgm:dir/>
          <dgm:animLvl val="ctr"/>
          <dgm:resizeHandles val="exact"/>
        </dgm:presLayoutVars>
      </dgm:prSet>
      <dgm:spPr/>
      <dgm:t>
        <a:bodyPr/>
        <a:lstStyle/>
        <a:p>
          <a:endParaRPr lang="sv-SE"/>
        </a:p>
      </dgm:t>
    </dgm:pt>
    <dgm:pt modelId="{8B6451CC-03DF-49D3-AB75-C43D6DF0F0BA}" type="pres">
      <dgm:prSet presAssocID="{49AF5080-6AC3-4853-A847-5F6D5308B7BF}" presName="centerShape" presStyleLbl="node0" presStyleIdx="0" presStyleCnt="1" custScaleX="137152"/>
      <dgm:spPr>
        <a:xfrm>
          <a:off x="3999401" y="2320945"/>
          <a:ext cx="1416549" cy="1416549"/>
        </a:xfrm>
        <a:prstGeom prst="ellipse">
          <a:avLst/>
        </a:prstGeom>
      </dgm:spPr>
      <dgm:t>
        <a:bodyPr/>
        <a:lstStyle/>
        <a:p>
          <a:endParaRPr lang="sv-SE"/>
        </a:p>
      </dgm:t>
    </dgm:pt>
    <dgm:pt modelId="{D7EEF2B3-502F-47A1-9235-8D5FCA66C7FD}" type="pres">
      <dgm:prSet presAssocID="{412C2C91-AA5E-44A7-8C34-7AB48958DEFE}" presName="parTrans" presStyleLbl="bgSibTrans2D1" presStyleIdx="0" presStyleCnt="10"/>
      <dgm:spPr/>
      <dgm:t>
        <a:bodyPr/>
        <a:lstStyle/>
        <a:p>
          <a:endParaRPr lang="sv-SE"/>
        </a:p>
      </dgm:t>
    </dgm:pt>
    <dgm:pt modelId="{8E50A856-5AE1-482F-8F86-64165E766214}" type="pres">
      <dgm:prSet presAssocID="{AF1A53BC-2B94-426A-A4ED-98B74F4DD2B5}" presName="node" presStyleLbl="node1" presStyleIdx="0" presStyleCnt="10" custScaleX="178568" custScaleY="72892">
        <dgm:presLayoutVars>
          <dgm:bulletEnabled val="1"/>
        </dgm:presLayoutVars>
      </dgm:prSet>
      <dgm:spPr/>
      <dgm:t>
        <a:bodyPr/>
        <a:lstStyle/>
        <a:p>
          <a:endParaRPr lang="sv-SE"/>
        </a:p>
      </dgm:t>
    </dgm:pt>
    <dgm:pt modelId="{C4467E5C-2A4D-412E-A77D-3A0AF7A10DEE}" type="pres">
      <dgm:prSet presAssocID="{5E346673-B4B0-4CBA-AC5D-FC9E3BC943CE}" presName="parTrans" presStyleLbl="bgSibTrans2D1" presStyleIdx="1" presStyleCnt="10"/>
      <dgm:spPr/>
      <dgm:t>
        <a:bodyPr/>
        <a:lstStyle/>
        <a:p>
          <a:endParaRPr lang="sv-SE"/>
        </a:p>
      </dgm:t>
    </dgm:pt>
    <dgm:pt modelId="{5FB95043-9A49-4FAF-A23E-8BA8C0251C84}" type="pres">
      <dgm:prSet presAssocID="{0D6A3E80-716C-4AAF-A0F6-F2B0EEF6C8BE}" presName="node" presStyleLbl="node1" presStyleIdx="1" presStyleCnt="10" custScaleX="156485">
        <dgm:presLayoutVars>
          <dgm:bulletEnabled val="1"/>
        </dgm:presLayoutVars>
      </dgm:prSet>
      <dgm:spPr/>
      <dgm:t>
        <a:bodyPr/>
        <a:lstStyle/>
        <a:p>
          <a:endParaRPr lang="sv-SE"/>
        </a:p>
      </dgm:t>
    </dgm:pt>
    <dgm:pt modelId="{583D1A98-DDE5-454C-AE81-E6B9E17DE22D}" type="pres">
      <dgm:prSet presAssocID="{EE13A681-561F-4013-9281-E8275A948EA4}" presName="parTrans" presStyleLbl="bgSibTrans2D1" presStyleIdx="2" presStyleCnt="10"/>
      <dgm:spPr/>
      <dgm:t>
        <a:bodyPr/>
        <a:lstStyle/>
        <a:p>
          <a:endParaRPr lang="sv-SE"/>
        </a:p>
      </dgm:t>
    </dgm:pt>
    <dgm:pt modelId="{B2CAF855-7A96-4431-BCD0-E4136CE96999}" type="pres">
      <dgm:prSet presAssocID="{5E091442-5788-4B60-B557-92036E85944A}" presName="node" presStyleLbl="node1" presStyleIdx="2" presStyleCnt="10" custScaleX="227332" custScaleY="125361">
        <dgm:presLayoutVars>
          <dgm:bulletEnabled val="1"/>
        </dgm:presLayoutVars>
      </dgm:prSet>
      <dgm:spPr/>
      <dgm:t>
        <a:bodyPr/>
        <a:lstStyle/>
        <a:p>
          <a:endParaRPr lang="sv-SE"/>
        </a:p>
      </dgm:t>
    </dgm:pt>
    <dgm:pt modelId="{0807B74B-AAE4-4BD0-BB6E-CFA162E52A66}" type="pres">
      <dgm:prSet presAssocID="{46E2A10D-2559-4095-91E2-4BB4410C3588}" presName="parTrans" presStyleLbl="bgSibTrans2D1" presStyleIdx="3" presStyleCnt="10"/>
      <dgm:spPr/>
      <dgm:t>
        <a:bodyPr/>
        <a:lstStyle/>
        <a:p>
          <a:endParaRPr lang="sv-SE"/>
        </a:p>
      </dgm:t>
    </dgm:pt>
    <dgm:pt modelId="{B14976D3-8CDF-4512-AD87-BB15F41DF832}" type="pres">
      <dgm:prSet presAssocID="{5237D8E0-94F5-47C4-B685-BB9D13EF9C18}" presName="node" presStyleLbl="node1" presStyleIdx="3" presStyleCnt="10" custScaleX="122744" custRadScaleRad="103890" custRadScaleInc="28547">
        <dgm:presLayoutVars>
          <dgm:bulletEnabled val="1"/>
        </dgm:presLayoutVars>
      </dgm:prSet>
      <dgm:spPr/>
      <dgm:t>
        <a:bodyPr/>
        <a:lstStyle/>
        <a:p>
          <a:endParaRPr lang="sv-SE"/>
        </a:p>
      </dgm:t>
    </dgm:pt>
    <dgm:pt modelId="{1ED093F1-B844-4F3F-BD62-B2F6840634AC}" type="pres">
      <dgm:prSet presAssocID="{1777F0AF-BEDD-45D5-A1F2-505AC6241E11}" presName="parTrans" presStyleLbl="bgSibTrans2D1" presStyleIdx="4" presStyleCnt="10"/>
      <dgm:spPr/>
      <dgm:t>
        <a:bodyPr/>
        <a:lstStyle/>
        <a:p>
          <a:endParaRPr lang="sv-SE"/>
        </a:p>
      </dgm:t>
    </dgm:pt>
    <dgm:pt modelId="{70966E27-45DD-4FBE-84D4-F529D2C8503C}" type="pres">
      <dgm:prSet presAssocID="{B14E2CEC-E220-4CB6-A90D-ADA92D42CB09}" presName="node" presStyleLbl="node1" presStyleIdx="4" presStyleCnt="10" custScaleX="139887" custRadScaleRad="94493" custRadScaleInc="33256">
        <dgm:presLayoutVars>
          <dgm:bulletEnabled val="1"/>
        </dgm:presLayoutVars>
      </dgm:prSet>
      <dgm:spPr/>
      <dgm:t>
        <a:bodyPr/>
        <a:lstStyle/>
        <a:p>
          <a:endParaRPr lang="sv-SE"/>
        </a:p>
      </dgm:t>
    </dgm:pt>
    <dgm:pt modelId="{39D469E2-31BD-4D70-A00F-39790DC2AD7C}" type="pres">
      <dgm:prSet presAssocID="{5039C19B-F668-4E4C-8AE8-790B4E00FB28}" presName="parTrans" presStyleLbl="bgSibTrans2D1" presStyleIdx="5" presStyleCnt="10"/>
      <dgm:spPr/>
      <dgm:t>
        <a:bodyPr/>
        <a:lstStyle/>
        <a:p>
          <a:endParaRPr lang="sv-SE"/>
        </a:p>
      </dgm:t>
    </dgm:pt>
    <dgm:pt modelId="{A658E555-0B62-4A51-843B-B0CA177B2003}" type="pres">
      <dgm:prSet presAssocID="{1BF648BE-EBDB-4ED6-9B9C-03013642C38C}" presName="node" presStyleLbl="node1" presStyleIdx="5" presStyleCnt="10" custRadScaleRad="94037" custRadScaleInc="37469">
        <dgm:presLayoutVars>
          <dgm:bulletEnabled val="1"/>
        </dgm:presLayoutVars>
      </dgm:prSet>
      <dgm:spPr/>
      <dgm:t>
        <a:bodyPr/>
        <a:lstStyle/>
        <a:p>
          <a:endParaRPr lang="sv-SE"/>
        </a:p>
      </dgm:t>
    </dgm:pt>
    <dgm:pt modelId="{B839C1A5-B350-480A-AF8A-0B276E764616}" type="pres">
      <dgm:prSet presAssocID="{1D96C61D-0ADD-41E7-9350-0AD75235E00C}" presName="parTrans" presStyleLbl="bgSibTrans2D1" presStyleIdx="6" presStyleCnt="10" custAng="21327569" custScaleX="83074" custScaleY="101679" custLinFactNeighborX="-12348" custLinFactNeighborY="47646"/>
      <dgm:spPr/>
      <dgm:t>
        <a:bodyPr/>
        <a:lstStyle/>
        <a:p>
          <a:endParaRPr lang="sv-SE"/>
        </a:p>
      </dgm:t>
    </dgm:pt>
    <dgm:pt modelId="{6A811C69-9A2E-49DF-A79D-02B9D4A9C6B2}" type="pres">
      <dgm:prSet presAssocID="{0987E4B7-6E3F-4104-AEE5-524C07C618A9}" presName="node" presStyleLbl="node1" presStyleIdx="6" presStyleCnt="10" custScaleX="189241" custScaleY="81632" custRadScaleRad="110583" custRadScaleInc="69700">
        <dgm:presLayoutVars>
          <dgm:bulletEnabled val="1"/>
        </dgm:presLayoutVars>
      </dgm:prSet>
      <dgm:spPr/>
      <dgm:t>
        <a:bodyPr/>
        <a:lstStyle/>
        <a:p>
          <a:endParaRPr lang="sv-SE"/>
        </a:p>
      </dgm:t>
    </dgm:pt>
    <dgm:pt modelId="{421C3EDA-ED45-407C-A247-1F7DAFC37F1D}" type="pres">
      <dgm:prSet presAssocID="{E19646CE-7E09-49D7-AFAE-FCF665D32048}" presName="parTrans" presStyleLbl="bgSibTrans2D1" presStyleIdx="7" presStyleCnt="10" custAng="77472" custLinFactNeighborX="-4682" custLinFactNeighborY="-4538"/>
      <dgm:spPr/>
      <dgm:t>
        <a:bodyPr/>
        <a:lstStyle/>
        <a:p>
          <a:endParaRPr lang="sv-SE"/>
        </a:p>
      </dgm:t>
    </dgm:pt>
    <dgm:pt modelId="{644D4710-44A1-4A08-BF3B-DD196BF3F38F}" type="pres">
      <dgm:prSet presAssocID="{57456AE8-1F2E-4C6D-B842-D23067E03286}" presName="node" presStyleLbl="node1" presStyleIdx="7" presStyleCnt="10" custScaleX="205065" custRadScaleRad="115702" custRadScaleInc="61206">
        <dgm:presLayoutVars>
          <dgm:bulletEnabled val="1"/>
        </dgm:presLayoutVars>
      </dgm:prSet>
      <dgm:spPr/>
      <dgm:t>
        <a:bodyPr/>
        <a:lstStyle/>
        <a:p>
          <a:endParaRPr lang="sv-SE"/>
        </a:p>
      </dgm:t>
    </dgm:pt>
    <dgm:pt modelId="{99889DF7-4C0E-4E5F-9EE4-1F15EFB9B133}" type="pres">
      <dgm:prSet presAssocID="{47B06A24-E26E-4770-BCEB-C13BE3503D2F}" presName="parTrans" presStyleLbl="bgSibTrans2D1" presStyleIdx="8" presStyleCnt="10" custAng="77472" custLinFactNeighborX="-4682" custLinFactNeighborY="-4538"/>
      <dgm:spPr/>
      <dgm:t>
        <a:bodyPr/>
        <a:lstStyle/>
        <a:p>
          <a:endParaRPr lang="sv-SE"/>
        </a:p>
      </dgm:t>
    </dgm:pt>
    <dgm:pt modelId="{04CB8565-6DF9-4E26-B0A6-B8BE0BFCD4A2}" type="pres">
      <dgm:prSet presAssocID="{EC2BABCA-6B0E-491A-AAD9-DD10D46B25E9}" presName="node" presStyleLbl="node1" presStyleIdx="8" presStyleCnt="10" custScaleX="246878" custRadScaleRad="117151" custRadScaleInc="39321">
        <dgm:presLayoutVars>
          <dgm:bulletEnabled val="1"/>
        </dgm:presLayoutVars>
      </dgm:prSet>
      <dgm:spPr/>
      <dgm:t>
        <a:bodyPr/>
        <a:lstStyle/>
        <a:p>
          <a:endParaRPr lang="sv-SE"/>
        </a:p>
      </dgm:t>
    </dgm:pt>
    <dgm:pt modelId="{4ED3CF1B-707F-405C-87AA-59E8226BF4F7}" type="pres">
      <dgm:prSet presAssocID="{78DB6E61-9D6F-420B-9680-A71C0A334370}" presName="parTrans" presStyleLbl="bgSibTrans2D1" presStyleIdx="9" presStyleCnt="10" custLinFactNeighborX="-1098" custLinFactNeighborY="3425"/>
      <dgm:spPr/>
      <dgm:t>
        <a:bodyPr/>
        <a:lstStyle/>
        <a:p>
          <a:endParaRPr lang="sv-SE"/>
        </a:p>
      </dgm:t>
    </dgm:pt>
    <dgm:pt modelId="{883B0DAB-D4DD-4945-91BA-E8D4A3A2255E}" type="pres">
      <dgm:prSet presAssocID="{EB9064C4-D008-4597-AC6E-0E8C245D7770}" presName="node" presStyleLbl="node1" presStyleIdx="9" presStyleCnt="10" custScaleX="286073" custScaleY="70390" custRadScaleRad="111665" custRadScaleInc="-4112">
        <dgm:presLayoutVars>
          <dgm:bulletEnabled val="1"/>
        </dgm:presLayoutVars>
      </dgm:prSet>
      <dgm:spPr/>
      <dgm:t>
        <a:bodyPr/>
        <a:lstStyle/>
        <a:p>
          <a:endParaRPr lang="sv-SE"/>
        </a:p>
      </dgm:t>
    </dgm:pt>
  </dgm:ptLst>
  <dgm:cxnLst>
    <dgm:cxn modelId="{82FBA1C0-DD69-4F02-94A7-48F706E975F2}" type="presOf" srcId="{49AF5080-6AC3-4853-A847-5F6D5308B7BF}" destId="{8B6451CC-03DF-49D3-AB75-C43D6DF0F0BA}" srcOrd="0" destOrd="0" presId="urn:microsoft.com/office/officeart/2005/8/layout/radial4"/>
    <dgm:cxn modelId="{E06C752B-16F2-4F60-A3AD-CAE2EE1EFD98}" type="presOf" srcId="{57456AE8-1F2E-4C6D-B842-D23067E03286}" destId="{644D4710-44A1-4A08-BF3B-DD196BF3F38F}" srcOrd="0" destOrd="0" presId="urn:microsoft.com/office/officeart/2005/8/layout/radial4"/>
    <dgm:cxn modelId="{5CBF9571-8AA2-47F1-B13F-62285932C973}" type="presOf" srcId="{0987E4B7-6E3F-4104-AEE5-524C07C618A9}" destId="{6A811C69-9A2E-49DF-A79D-02B9D4A9C6B2}" srcOrd="0" destOrd="0" presId="urn:microsoft.com/office/officeart/2005/8/layout/radial4"/>
    <dgm:cxn modelId="{4B03A229-A8AF-4CED-80F7-50293D22B2D2}" type="presOf" srcId="{412C2C91-AA5E-44A7-8C34-7AB48958DEFE}" destId="{D7EEF2B3-502F-47A1-9235-8D5FCA66C7FD}" srcOrd="0" destOrd="0" presId="urn:microsoft.com/office/officeart/2005/8/layout/radial4"/>
    <dgm:cxn modelId="{5AB50D06-8493-460C-8D6C-AE9B4E09033A}" type="presOf" srcId="{AF1A53BC-2B94-426A-A4ED-98B74F4DD2B5}" destId="{8E50A856-5AE1-482F-8F86-64165E766214}" srcOrd="0" destOrd="0" presId="urn:microsoft.com/office/officeart/2005/8/layout/radial4"/>
    <dgm:cxn modelId="{D7EC235F-4BC5-449D-A6DE-79956FE50C6E}" type="presOf" srcId="{CC810C2A-1E3D-433B-B031-E25F2FB2C2CC}" destId="{70086A7F-CC52-4D08-820B-1384D0F5BB19}" srcOrd="0" destOrd="0" presId="urn:microsoft.com/office/officeart/2005/8/layout/radial4"/>
    <dgm:cxn modelId="{B7680B2B-A091-47F2-B39A-46A2AED539E5}" type="presOf" srcId="{E19646CE-7E09-49D7-AFAE-FCF665D32048}" destId="{421C3EDA-ED45-407C-A247-1F7DAFC37F1D}" srcOrd="0" destOrd="0" presId="urn:microsoft.com/office/officeart/2005/8/layout/radial4"/>
    <dgm:cxn modelId="{7DE17CB0-27A2-4F67-BDBD-9C0BB206C387}" type="presOf" srcId="{0D6A3E80-716C-4AAF-A0F6-F2B0EEF6C8BE}" destId="{5FB95043-9A49-4FAF-A23E-8BA8C0251C84}" srcOrd="0" destOrd="0" presId="urn:microsoft.com/office/officeart/2005/8/layout/radial4"/>
    <dgm:cxn modelId="{F07DCD7B-AA69-455B-AAE2-65701B944F07}" srcId="{49AF5080-6AC3-4853-A847-5F6D5308B7BF}" destId="{5E091442-5788-4B60-B557-92036E85944A}" srcOrd="2" destOrd="0" parTransId="{EE13A681-561F-4013-9281-E8275A948EA4}" sibTransId="{9067FDD4-D9FB-4344-950F-E33FD354A6AA}"/>
    <dgm:cxn modelId="{899BF373-9A37-4E5A-90A1-5D07A0ADB7BE}" srcId="{49AF5080-6AC3-4853-A847-5F6D5308B7BF}" destId="{0D6A3E80-716C-4AAF-A0F6-F2B0EEF6C8BE}" srcOrd="1" destOrd="0" parTransId="{5E346673-B4B0-4CBA-AC5D-FC9E3BC943CE}" sibTransId="{23921064-EF00-4083-8B62-A9D1682C38B6}"/>
    <dgm:cxn modelId="{9A50D3A2-02ED-45A6-AEDF-187122D180A8}" srcId="{49AF5080-6AC3-4853-A847-5F6D5308B7BF}" destId="{0987E4B7-6E3F-4104-AEE5-524C07C618A9}" srcOrd="6" destOrd="0" parTransId="{1D96C61D-0ADD-41E7-9350-0AD75235E00C}" sibTransId="{915D4131-62A8-4215-BC71-FD0DBD9EA25C}"/>
    <dgm:cxn modelId="{94DFC411-99DD-4BA8-8CF7-B646BE58DED6}" srcId="{49AF5080-6AC3-4853-A847-5F6D5308B7BF}" destId="{1BF648BE-EBDB-4ED6-9B9C-03013642C38C}" srcOrd="5" destOrd="0" parTransId="{5039C19B-F668-4E4C-8AE8-790B4E00FB28}" sibTransId="{97DF0D33-4C88-421F-81B3-5723BE4EBC49}"/>
    <dgm:cxn modelId="{52CDCE3D-699C-49B3-AC1F-700D2087DC96}" type="presOf" srcId="{78DB6E61-9D6F-420B-9680-A71C0A334370}" destId="{4ED3CF1B-707F-405C-87AA-59E8226BF4F7}" srcOrd="0" destOrd="0" presId="urn:microsoft.com/office/officeart/2005/8/layout/radial4"/>
    <dgm:cxn modelId="{DC8B9949-1311-4B8D-8658-E51B8AD1D9E2}" type="presOf" srcId="{5237D8E0-94F5-47C4-B685-BB9D13EF9C18}" destId="{B14976D3-8CDF-4512-AD87-BB15F41DF832}" srcOrd="0" destOrd="0" presId="urn:microsoft.com/office/officeart/2005/8/layout/radial4"/>
    <dgm:cxn modelId="{B6AEF232-6E51-407C-93AD-B9DDB15B8910}" type="presOf" srcId="{B14E2CEC-E220-4CB6-A90D-ADA92D42CB09}" destId="{70966E27-45DD-4FBE-84D4-F529D2C8503C}" srcOrd="0" destOrd="0" presId="urn:microsoft.com/office/officeart/2005/8/layout/radial4"/>
    <dgm:cxn modelId="{D0FBE7D0-A64A-4533-AC37-09A8CD611E5D}" type="presOf" srcId="{46E2A10D-2559-4095-91E2-4BB4410C3588}" destId="{0807B74B-AAE4-4BD0-BB6E-CFA162E52A66}" srcOrd="0" destOrd="0" presId="urn:microsoft.com/office/officeart/2005/8/layout/radial4"/>
    <dgm:cxn modelId="{B9B0A967-1F97-49EC-A75F-0B444DB38AFA}" type="presOf" srcId="{EE13A681-561F-4013-9281-E8275A948EA4}" destId="{583D1A98-DDE5-454C-AE81-E6B9E17DE22D}" srcOrd="0" destOrd="0" presId="urn:microsoft.com/office/officeart/2005/8/layout/radial4"/>
    <dgm:cxn modelId="{A3B3D5BD-1F25-4735-9406-F2D80664D67A}" type="presOf" srcId="{5E091442-5788-4B60-B557-92036E85944A}" destId="{B2CAF855-7A96-4431-BCD0-E4136CE96999}" srcOrd="0" destOrd="0" presId="urn:microsoft.com/office/officeart/2005/8/layout/radial4"/>
    <dgm:cxn modelId="{72454D33-FBCF-4D9F-B1B9-6540BE841A6F}" srcId="{49AF5080-6AC3-4853-A847-5F6D5308B7BF}" destId="{B14E2CEC-E220-4CB6-A90D-ADA92D42CB09}" srcOrd="4" destOrd="0" parTransId="{1777F0AF-BEDD-45D5-A1F2-505AC6241E11}" sibTransId="{927AF7F2-6FA8-4921-B225-1B5F21161C7C}"/>
    <dgm:cxn modelId="{50741E8D-9449-4A9E-8429-C7329031F952}" type="presOf" srcId="{EB9064C4-D008-4597-AC6E-0E8C245D7770}" destId="{883B0DAB-D4DD-4945-91BA-E8D4A3A2255E}" srcOrd="0" destOrd="0" presId="urn:microsoft.com/office/officeart/2005/8/layout/radial4"/>
    <dgm:cxn modelId="{E5FB95FB-8EBB-46E9-8444-B54DE35D14DB}" srcId="{49AF5080-6AC3-4853-A847-5F6D5308B7BF}" destId="{AF1A53BC-2B94-426A-A4ED-98B74F4DD2B5}" srcOrd="0" destOrd="0" parTransId="{412C2C91-AA5E-44A7-8C34-7AB48958DEFE}" sibTransId="{90CF2B11-482F-487C-A41B-5E8D0EA37118}"/>
    <dgm:cxn modelId="{571C24AB-0B02-4681-BDBC-14E2185472D9}" type="presOf" srcId="{1777F0AF-BEDD-45D5-A1F2-505AC6241E11}" destId="{1ED093F1-B844-4F3F-BD62-B2F6840634AC}" srcOrd="0" destOrd="0" presId="urn:microsoft.com/office/officeart/2005/8/layout/radial4"/>
    <dgm:cxn modelId="{EE6ADE50-9735-4220-92F8-A6B73AA01E63}" type="presOf" srcId="{5039C19B-F668-4E4C-8AE8-790B4E00FB28}" destId="{39D469E2-31BD-4D70-A00F-39790DC2AD7C}" srcOrd="0" destOrd="0" presId="urn:microsoft.com/office/officeart/2005/8/layout/radial4"/>
    <dgm:cxn modelId="{D6E43F3E-2065-4684-BDD0-80646F4C0D69}" srcId="{49AF5080-6AC3-4853-A847-5F6D5308B7BF}" destId="{EB9064C4-D008-4597-AC6E-0E8C245D7770}" srcOrd="9" destOrd="0" parTransId="{78DB6E61-9D6F-420B-9680-A71C0A334370}" sibTransId="{9EFD0F27-6F95-437D-8942-0F4FC73C20C3}"/>
    <dgm:cxn modelId="{2634355C-5A50-40C3-8701-69BB8A5CB44E}" type="presOf" srcId="{1D96C61D-0ADD-41E7-9350-0AD75235E00C}" destId="{B839C1A5-B350-480A-AF8A-0B276E764616}" srcOrd="0" destOrd="0" presId="urn:microsoft.com/office/officeart/2005/8/layout/radial4"/>
    <dgm:cxn modelId="{439523AB-8025-4A11-880C-73974930D364}" type="presOf" srcId="{1BF648BE-EBDB-4ED6-9B9C-03013642C38C}" destId="{A658E555-0B62-4A51-843B-B0CA177B2003}" srcOrd="0" destOrd="0" presId="urn:microsoft.com/office/officeart/2005/8/layout/radial4"/>
    <dgm:cxn modelId="{D0BFF3B1-D616-4C01-ABEB-E3C9427BE974}" srcId="{49AF5080-6AC3-4853-A847-5F6D5308B7BF}" destId="{5237D8E0-94F5-47C4-B685-BB9D13EF9C18}" srcOrd="3" destOrd="0" parTransId="{46E2A10D-2559-4095-91E2-4BB4410C3588}" sibTransId="{9A6DC3ED-694C-4AD2-82E5-A0A3C57C4F9A}"/>
    <dgm:cxn modelId="{F6E9E12A-1EA3-4EAD-ABBB-8698A2AF0343}" srcId="{49AF5080-6AC3-4853-A847-5F6D5308B7BF}" destId="{EC2BABCA-6B0E-491A-AAD9-DD10D46B25E9}" srcOrd="8" destOrd="0" parTransId="{47B06A24-E26E-4770-BCEB-C13BE3503D2F}" sibTransId="{BB16E698-C51C-4A04-964B-5DC7F8BFAA10}"/>
    <dgm:cxn modelId="{E57A73C7-6703-43E5-BA27-7786624CC1A5}" type="presOf" srcId="{EC2BABCA-6B0E-491A-AAD9-DD10D46B25E9}" destId="{04CB8565-6DF9-4E26-B0A6-B8BE0BFCD4A2}" srcOrd="0" destOrd="0" presId="urn:microsoft.com/office/officeart/2005/8/layout/radial4"/>
    <dgm:cxn modelId="{95117F5F-235B-4D00-81D4-20510C391DF5}" type="presOf" srcId="{47B06A24-E26E-4770-BCEB-C13BE3503D2F}" destId="{99889DF7-4C0E-4E5F-9EE4-1F15EFB9B133}" srcOrd="0" destOrd="0" presId="urn:microsoft.com/office/officeart/2005/8/layout/radial4"/>
    <dgm:cxn modelId="{16FDE0F0-0651-45C6-BB31-1002078708C7}" type="presOf" srcId="{5E346673-B4B0-4CBA-AC5D-FC9E3BC943CE}" destId="{C4467E5C-2A4D-412E-A77D-3A0AF7A10DEE}" srcOrd="0" destOrd="0" presId="urn:microsoft.com/office/officeart/2005/8/layout/radial4"/>
    <dgm:cxn modelId="{083DC0F2-A5AD-49D9-AC11-CBCFE4091A59}" srcId="{49AF5080-6AC3-4853-A847-5F6D5308B7BF}" destId="{57456AE8-1F2E-4C6D-B842-D23067E03286}" srcOrd="7" destOrd="0" parTransId="{E19646CE-7E09-49D7-AFAE-FCF665D32048}" sibTransId="{1D8C05BA-F4E4-488F-9F4E-C91FBA4AF725}"/>
    <dgm:cxn modelId="{CED97D37-C402-4D1D-A11A-398669B498A6}" srcId="{CC810C2A-1E3D-433B-B031-E25F2FB2C2CC}" destId="{49AF5080-6AC3-4853-A847-5F6D5308B7BF}" srcOrd="0" destOrd="0" parTransId="{550017B7-E305-4269-84C1-940217DD4D9C}" sibTransId="{9CBE2F7D-6D02-496C-A1C7-8A9130301F6A}"/>
    <dgm:cxn modelId="{4392533E-F27D-4BBC-815F-95E8929497CA}" type="presParOf" srcId="{70086A7F-CC52-4D08-820B-1384D0F5BB19}" destId="{8B6451CC-03DF-49D3-AB75-C43D6DF0F0BA}" srcOrd="0" destOrd="0" presId="urn:microsoft.com/office/officeart/2005/8/layout/radial4"/>
    <dgm:cxn modelId="{E94FA981-5A69-41FC-9935-BB2FCCF86018}" type="presParOf" srcId="{70086A7F-CC52-4D08-820B-1384D0F5BB19}" destId="{D7EEF2B3-502F-47A1-9235-8D5FCA66C7FD}" srcOrd="1" destOrd="0" presId="urn:microsoft.com/office/officeart/2005/8/layout/radial4"/>
    <dgm:cxn modelId="{D352E94F-0086-4F66-B0FB-B67E9DDDF93A}" type="presParOf" srcId="{70086A7F-CC52-4D08-820B-1384D0F5BB19}" destId="{8E50A856-5AE1-482F-8F86-64165E766214}" srcOrd="2" destOrd="0" presId="urn:microsoft.com/office/officeart/2005/8/layout/radial4"/>
    <dgm:cxn modelId="{9D018ACB-5FAD-4A81-AE2A-B8DD6D1DB488}" type="presParOf" srcId="{70086A7F-CC52-4D08-820B-1384D0F5BB19}" destId="{C4467E5C-2A4D-412E-A77D-3A0AF7A10DEE}" srcOrd="3" destOrd="0" presId="urn:microsoft.com/office/officeart/2005/8/layout/radial4"/>
    <dgm:cxn modelId="{7300E6EC-F606-4AC5-B114-1A15514A035B}" type="presParOf" srcId="{70086A7F-CC52-4D08-820B-1384D0F5BB19}" destId="{5FB95043-9A49-4FAF-A23E-8BA8C0251C84}" srcOrd="4" destOrd="0" presId="urn:microsoft.com/office/officeart/2005/8/layout/radial4"/>
    <dgm:cxn modelId="{60787AD4-E109-47B6-A7E3-A3215E0E8729}" type="presParOf" srcId="{70086A7F-CC52-4D08-820B-1384D0F5BB19}" destId="{583D1A98-DDE5-454C-AE81-E6B9E17DE22D}" srcOrd="5" destOrd="0" presId="urn:microsoft.com/office/officeart/2005/8/layout/radial4"/>
    <dgm:cxn modelId="{05070334-EC55-4348-8676-32252AEB3CB1}" type="presParOf" srcId="{70086A7F-CC52-4D08-820B-1384D0F5BB19}" destId="{B2CAF855-7A96-4431-BCD0-E4136CE96999}" srcOrd="6" destOrd="0" presId="urn:microsoft.com/office/officeart/2005/8/layout/radial4"/>
    <dgm:cxn modelId="{2FE29ECE-5D61-45D4-9A81-7EFD7E594C25}" type="presParOf" srcId="{70086A7F-CC52-4D08-820B-1384D0F5BB19}" destId="{0807B74B-AAE4-4BD0-BB6E-CFA162E52A66}" srcOrd="7" destOrd="0" presId="urn:microsoft.com/office/officeart/2005/8/layout/radial4"/>
    <dgm:cxn modelId="{A64FA5CB-7044-4B34-8686-B8A829223737}" type="presParOf" srcId="{70086A7F-CC52-4D08-820B-1384D0F5BB19}" destId="{B14976D3-8CDF-4512-AD87-BB15F41DF832}" srcOrd="8" destOrd="0" presId="urn:microsoft.com/office/officeart/2005/8/layout/radial4"/>
    <dgm:cxn modelId="{AD563FF6-FB04-4B3A-95DE-72EC37F436CE}" type="presParOf" srcId="{70086A7F-CC52-4D08-820B-1384D0F5BB19}" destId="{1ED093F1-B844-4F3F-BD62-B2F6840634AC}" srcOrd="9" destOrd="0" presId="urn:microsoft.com/office/officeart/2005/8/layout/radial4"/>
    <dgm:cxn modelId="{04D54BDA-75CD-4A95-827C-61531C7BC9AA}" type="presParOf" srcId="{70086A7F-CC52-4D08-820B-1384D0F5BB19}" destId="{70966E27-45DD-4FBE-84D4-F529D2C8503C}" srcOrd="10" destOrd="0" presId="urn:microsoft.com/office/officeart/2005/8/layout/radial4"/>
    <dgm:cxn modelId="{69DB4B66-3F9F-4EA8-8146-E6F2C65FC97C}" type="presParOf" srcId="{70086A7F-CC52-4D08-820B-1384D0F5BB19}" destId="{39D469E2-31BD-4D70-A00F-39790DC2AD7C}" srcOrd="11" destOrd="0" presId="urn:microsoft.com/office/officeart/2005/8/layout/radial4"/>
    <dgm:cxn modelId="{EB065A02-92BB-483C-8E6C-C473C02C5C43}" type="presParOf" srcId="{70086A7F-CC52-4D08-820B-1384D0F5BB19}" destId="{A658E555-0B62-4A51-843B-B0CA177B2003}" srcOrd="12" destOrd="0" presId="urn:microsoft.com/office/officeart/2005/8/layout/radial4"/>
    <dgm:cxn modelId="{E640E574-CF9D-479B-A70F-418371389FA2}" type="presParOf" srcId="{70086A7F-CC52-4D08-820B-1384D0F5BB19}" destId="{B839C1A5-B350-480A-AF8A-0B276E764616}" srcOrd="13" destOrd="0" presId="urn:microsoft.com/office/officeart/2005/8/layout/radial4"/>
    <dgm:cxn modelId="{6D0B14D5-0D9D-4346-9DB1-87A549A4014C}" type="presParOf" srcId="{70086A7F-CC52-4D08-820B-1384D0F5BB19}" destId="{6A811C69-9A2E-49DF-A79D-02B9D4A9C6B2}" srcOrd="14" destOrd="0" presId="urn:microsoft.com/office/officeart/2005/8/layout/radial4"/>
    <dgm:cxn modelId="{C7EA534A-2F59-4BF7-9E5B-AE0377C09128}" type="presParOf" srcId="{70086A7F-CC52-4D08-820B-1384D0F5BB19}" destId="{421C3EDA-ED45-407C-A247-1F7DAFC37F1D}" srcOrd="15" destOrd="0" presId="urn:microsoft.com/office/officeart/2005/8/layout/radial4"/>
    <dgm:cxn modelId="{1F485B45-2EFE-444D-A398-0549BA143974}" type="presParOf" srcId="{70086A7F-CC52-4D08-820B-1384D0F5BB19}" destId="{644D4710-44A1-4A08-BF3B-DD196BF3F38F}" srcOrd="16" destOrd="0" presId="urn:microsoft.com/office/officeart/2005/8/layout/radial4"/>
    <dgm:cxn modelId="{D4AAA47F-B026-4F88-A568-59F90B033AE1}" type="presParOf" srcId="{70086A7F-CC52-4D08-820B-1384D0F5BB19}" destId="{99889DF7-4C0E-4E5F-9EE4-1F15EFB9B133}" srcOrd="17" destOrd="0" presId="urn:microsoft.com/office/officeart/2005/8/layout/radial4"/>
    <dgm:cxn modelId="{EFC1F54A-ED6F-4D77-8729-31A13855F0D3}" type="presParOf" srcId="{70086A7F-CC52-4D08-820B-1384D0F5BB19}" destId="{04CB8565-6DF9-4E26-B0A6-B8BE0BFCD4A2}" srcOrd="18" destOrd="0" presId="urn:microsoft.com/office/officeart/2005/8/layout/radial4"/>
    <dgm:cxn modelId="{32FF5A26-6F2B-42BD-B2D7-0FEAAAF93E5D}" type="presParOf" srcId="{70086A7F-CC52-4D08-820B-1384D0F5BB19}" destId="{4ED3CF1B-707F-405C-87AA-59E8226BF4F7}" srcOrd="19" destOrd="0" presId="urn:microsoft.com/office/officeart/2005/8/layout/radial4"/>
    <dgm:cxn modelId="{D5FB2FF8-E799-4971-818D-0E090BEDC957}" type="presParOf" srcId="{70086A7F-CC52-4D08-820B-1384D0F5BB19}" destId="{883B0DAB-D4DD-4945-91BA-E8D4A3A2255E}" srcOrd="2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44407A9-6361-4383-A635-429D9A46635B}"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sv-SE"/>
        </a:p>
      </dgm:t>
    </dgm:pt>
    <dgm:pt modelId="{F62504D6-910A-4620-B55B-07B55ED23D21}">
      <dgm:prSet phldrT="[Text]" custT="1"/>
      <dgm:spPr/>
      <dgm:t>
        <a:bodyPr/>
        <a:lstStyle/>
        <a:p>
          <a:r>
            <a:rPr lang="sv-SE" sz="1200" dirty="0"/>
            <a:t>Grundutbildning</a:t>
          </a:r>
        </a:p>
      </dgm:t>
    </dgm:pt>
    <dgm:pt modelId="{E5C335BD-06DB-42AD-96A6-C49308126AD3}" type="parTrans" cxnId="{883986BB-793A-4D32-B4F2-93990200E889}">
      <dgm:prSet/>
      <dgm:spPr/>
      <dgm:t>
        <a:bodyPr/>
        <a:lstStyle/>
        <a:p>
          <a:endParaRPr lang="sv-SE" sz="1200"/>
        </a:p>
      </dgm:t>
    </dgm:pt>
    <dgm:pt modelId="{9F566D13-8779-4AA0-9A44-27941C603820}" type="sibTrans" cxnId="{883986BB-793A-4D32-B4F2-93990200E889}">
      <dgm:prSet/>
      <dgm:spPr/>
      <dgm:t>
        <a:bodyPr/>
        <a:lstStyle/>
        <a:p>
          <a:endParaRPr lang="sv-SE" sz="1200"/>
        </a:p>
      </dgm:t>
    </dgm:pt>
    <dgm:pt modelId="{4FD5033E-AB80-4071-9635-02ADE574F056}">
      <dgm:prSet phldrT="[Text]" custT="1"/>
      <dgm:spPr/>
      <dgm:t>
        <a:bodyPr/>
        <a:lstStyle/>
        <a:p>
          <a:r>
            <a:rPr lang="sv-SE" sz="1200" dirty="0"/>
            <a:t>Ta emot studenter på VFU</a:t>
          </a:r>
        </a:p>
      </dgm:t>
    </dgm:pt>
    <dgm:pt modelId="{CB38DE4B-EE7A-46D4-9399-207E826D51AD}" type="parTrans" cxnId="{57697DB5-5B64-40DD-AF1C-DF9AB188AB0C}">
      <dgm:prSet/>
      <dgm:spPr>
        <a:noFill/>
      </dgm:spPr>
      <dgm:t>
        <a:bodyPr/>
        <a:lstStyle/>
        <a:p>
          <a:endParaRPr lang="sv-SE" sz="1200"/>
        </a:p>
      </dgm:t>
    </dgm:pt>
    <dgm:pt modelId="{181ADA0C-E0B8-44E5-9E6F-5F0375536B48}" type="sibTrans" cxnId="{57697DB5-5B64-40DD-AF1C-DF9AB188AB0C}">
      <dgm:prSet/>
      <dgm:spPr/>
      <dgm:t>
        <a:bodyPr/>
        <a:lstStyle/>
        <a:p>
          <a:endParaRPr lang="sv-SE" sz="1200"/>
        </a:p>
      </dgm:t>
    </dgm:pt>
    <dgm:pt modelId="{59F18C68-A135-4839-8970-E672BDF4E222}">
      <dgm:prSet phldrT="[Text]" custT="1"/>
      <dgm:spPr/>
      <dgm:t>
        <a:bodyPr/>
        <a:lstStyle/>
        <a:p>
          <a:r>
            <a:rPr lang="sv-SE" sz="1200" dirty="0"/>
            <a:t>Introduktion</a:t>
          </a:r>
        </a:p>
      </dgm:t>
    </dgm:pt>
    <dgm:pt modelId="{CDFE03D3-8752-4C9B-85E7-8D529DC6F9E1}" type="parTrans" cxnId="{41AF63C9-D9F6-4E11-B6E7-DEC09FCA02E6}">
      <dgm:prSet/>
      <dgm:spPr>
        <a:noFill/>
      </dgm:spPr>
      <dgm:t>
        <a:bodyPr/>
        <a:lstStyle/>
        <a:p>
          <a:endParaRPr lang="sv-SE" sz="1200"/>
        </a:p>
      </dgm:t>
    </dgm:pt>
    <dgm:pt modelId="{28CDA9C3-7B9E-4314-AD73-E477AFAAB250}" type="sibTrans" cxnId="{41AF63C9-D9F6-4E11-B6E7-DEC09FCA02E6}">
      <dgm:prSet/>
      <dgm:spPr/>
      <dgm:t>
        <a:bodyPr/>
        <a:lstStyle/>
        <a:p>
          <a:endParaRPr lang="sv-SE" sz="1200"/>
        </a:p>
      </dgm:t>
    </dgm:pt>
    <dgm:pt modelId="{084B2933-3914-456F-8A96-64CFAF925006}">
      <dgm:prSet custT="1"/>
      <dgm:spPr/>
      <dgm:t>
        <a:bodyPr/>
        <a:lstStyle/>
        <a:p>
          <a:r>
            <a:rPr lang="sv-SE" sz="1200" dirty="0"/>
            <a:t>Möjlighet till vidareutbildning med eller utan bibehållen lön</a:t>
          </a:r>
        </a:p>
      </dgm:t>
    </dgm:pt>
    <dgm:pt modelId="{67FB9AB4-BD9D-419F-9F55-0180A18D7AC6}" type="parTrans" cxnId="{3043EE96-AE32-49F7-938E-F2B78E9CBE4C}">
      <dgm:prSet/>
      <dgm:spPr>
        <a:noFill/>
      </dgm:spPr>
      <dgm:t>
        <a:bodyPr/>
        <a:lstStyle/>
        <a:p>
          <a:endParaRPr lang="sv-SE" sz="1200"/>
        </a:p>
      </dgm:t>
    </dgm:pt>
    <dgm:pt modelId="{32E05F9A-2743-4E3F-9C08-EDB2EACEF42D}" type="sibTrans" cxnId="{3043EE96-AE32-49F7-938E-F2B78E9CBE4C}">
      <dgm:prSet/>
      <dgm:spPr/>
      <dgm:t>
        <a:bodyPr/>
        <a:lstStyle/>
        <a:p>
          <a:endParaRPr lang="sv-SE" sz="1200"/>
        </a:p>
      </dgm:t>
    </dgm:pt>
    <dgm:pt modelId="{1DD3BF9F-EB85-4362-A029-4B1A93EC95A5}">
      <dgm:prSet custT="1"/>
      <dgm:spPr/>
      <dgm:t>
        <a:bodyPr/>
        <a:lstStyle/>
        <a:p>
          <a:r>
            <a:rPr lang="sv-SE" sz="1200" dirty="0">
              <a:solidFill>
                <a:schemeClr val="bg1"/>
              </a:solidFill>
            </a:rPr>
            <a:t>Efterfråga vidareutbildning</a:t>
          </a:r>
        </a:p>
      </dgm:t>
    </dgm:pt>
    <dgm:pt modelId="{A0ACA649-DFB0-47B7-927E-D4E1D2B079AF}" type="parTrans" cxnId="{F720B949-420A-47CF-A58E-0EDE50753B47}">
      <dgm:prSet/>
      <dgm:spPr>
        <a:noFill/>
      </dgm:spPr>
      <dgm:t>
        <a:bodyPr/>
        <a:lstStyle/>
        <a:p>
          <a:endParaRPr lang="sv-SE" sz="1200"/>
        </a:p>
      </dgm:t>
    </dgm:pt>
    <dgm:pt modelId="{1DED8F96-76CA-470D-A5D3-7DB4F4CD194D}" type="sibTrans" cxnId="{F720B949-420A-47CF-A58E-0EDE50753B47}">
      <dgm:prSet/>
      <dgm:spPr/>
      <dgm:t>
        <a:bodyPr/>
        <a:lstStyle/>
        <a:p>
          <a:endParaRPr lang="sv-SE" sz="1200"/>
        </a:p>
      </dgm:t>
    </dgm:pt>
    <dgm:pt modelId="{01175BF0-9B5B-427A-93BD-03D642B5F10C}">
      <dgm:prSet custT="1"/>
      <dgm:spPr/>
      <dgm:t>
        <a:bodyPr/>
        <a:lstStyle/>
        <a:p>
          <a:r>
            <a:rPr lang="sv-SE" sz="1200" dirty="0"/>
            <a:t>Kompetenshöjande insatser/</a:t>
          </a:r>
        </a:p>
        <a:p>
          <a:r>
            <a:rPr lang="sv-SE" sz="1200" dirty="0"/>
            <a:t>återkommande utbildningar</a:t>
          </a:r>
        </a:p>
      </dgm:t>
    </dgm:pt>
    <dgm:pt modelId="{959A1EAF-7F26-4F77-B2AC-8C614FB77610}" type="parTrans" cxnId="{BB3CE370-A228-4B9C-9B63-EEF1DCAEC63E}">
      <dgm:prSet/>
      <dgm:spPr>
        <a:noFill/>
      </dgm:spPr>
      <dgm:t>
        <a:bodyPr/>
        <a:lstStyle/>
        <a:p>
          <a:endParaRPr lang="sv-SE" sz="1200"/>
        </a:p>
      </dgm:t>
    </dgm:pt>
    <dgm:pt modelId="{B41AE397-718B-4DE6-AEF5-F277D3BE50CE}" type="sibTrans" cxnId="{BB3CE370-A228-4B9C-9B63-EEF1DCAEC63E}">
      <dgm:prSet/>
      <dgm:spPr/>
      <dgm:t>
        <a:bodyPr/>
        <a:lstStyle/>
        <a:p>
          <a:endParaRPr lang="sv-SE" sz="1200"/>
        </a:p>
      </dgm:t>
    </dgm:pt>
    <dgm:pt modelId="{C52661BB-5345-4CEF-B41A-1110E922D206}">
      <dgm:prSet custT="1"/>
      <dgm:spPr/>
      <dgm:t>
        <a:bodyPr/>
        <a:lstStyle/>
        <a:p>
          <a:r>
            <a:rPr lang="sv-SE" sz="1200" dirty="0"/>
            <a:t>God kvalitet på VFU</a:t>
          </a:r>
        </a:p>
      </dgm:t>
    </dgm:pt>
    <dgm:pt modelId="{47885293-AED4-4517-ADF7-5CD54E11C436}" type="parTrans" cxnId="{E1111664-7603-462C-94EA-D32B8B404E27}">
      <dgm:prSet/>
      <dgm:spPr>
        <a:noFill/>
      </dgm:spPr>
      <dgm:t>
        <a:bodyPr/>
        <a:lstStyle/>
        <a:p>
          <a:endParaRPr lang="sv-SE" sz="1200"/>
        </a:p>
      </dgm:t>
    </dgm:pt>
    <dgm:pt modelId="{C791EA40-B70B-45EC-95CB-92B34FD4D61F}" type="sibTrans" cxnId="{E1111664-7603-462C-94EA-D32B8B404E27}">
      <dgm:prSet/>
      <dgm:spPr/>
      <dgm:t>
        <a:bodyPr/>
        <a:lstStyle/>
        <a:p>
          <a:endParaRPr lang="sv-SE" sz="1200"/>
        </a:p>
      </dgm:t>
    </dgm:pt>
    <dgm:pt modelId="{AB155CD8-66C0-4C79-8B3D-466D530B90C4}">
      <dgm:prSet custT="1"/>
      <dgm:spPr/>
      <dgm:t>
        <a:bodyPr/>
        <a:lstStyle/>
        <a:p>
          <a:r>
            <a:rPr lang="sv-SE" sz="1200" dirty="0"/>
            <a:t>Lärandekultur</a:t>
          </a:r>
        </a:p>
      </dgm:t>
    </dgm:pt>
    <dgm:pt modelId="{954CB1AC-B2A0-4716-8FCB-0B6450ED9433}" type="parTrans" cxnId="{2B1B0D3C-2C94-46D0-8A87-AE02047626EA}">
      <dgm:prSet/>
      <dgm:spPr>
        <a:noFill/>
      </dgm:spPr>
      <dgm:t>
        <a:bodyPr/>
        <a:lstStyle/>
        <a:p>
          <a:endParaRPr lang="sv-SE" sz="1200"/>
        </a:p>
      </dgm:t>
    </dgm:pt>
    <dgm:pt modelId="{67186696-6589-4739-A530-F4C6D36202EE}" type="sibTrans" cxnId="{2B1B0D3C-2C94-46D0-8A87-AE02047626EA}">
      <dgm:prSet/>
      <dgm:spPr/>
      <dgm:t>
        <a:bodyPr/>
        <a:lstStyle/>
        <a:p>
          <a:endParaRPr lang="sv-SE" sz="1200"/>
        </a:p>
      </dgm:t>
    </dgm:pt>
    <dgm:pt modelId="{6B63D797-9D26-42D8-958F-488F17094B3D}">
      <dgm:prSet custT="1"/>
      <dgm:spPr/>
      <dgm:t>
        <a:bodyPr/>
        <a:lstStyle/>
        <a:p>
          <a:r>
            <a:rPr lang="sv-SE" sz="1200" dirty="0"/>
            <a:t>Karriärmöjligheter/</a:t>
          </a:r>
        </a:p>
        <a:p>
          <a:r>
            <a:rPr lang="sv-SE" sz="1200" dirty="0"/>
            <a:t>kompetensmodell</a:t>
          </a:r>
        </a:p>
      </dgm:t>
    </dgm:pt>
    <dgm:pt modelId="{02CE3CEC-4F1F-4E6D-9A59-9CFE3A8E366F}" type="parTrans" cxnId="{F52C5C43-7BCB-4E44-BA13-7C385AB1CCCF}">
      <dgm:prSet/>
      <dgm:spPr>
        <a:noFill/>
      </dgm:spPr>
      <dgm:t>
        <a:bodyPr/>
        <a:lstStyle/>
        <a:p>
          <a:endParaRPr lang="sv-SE" sz="1200"/>
        </a:p>
      </dgm:t>
    </dgm:pt>
    <dgm:pt modelId="{309B8C81-5C8D-4CF3-9C87-522764CC2561}" type="sibTrans" cxnId="{F52C5C43-7BCB-4E44-BA13-7C385AB1CCCF}">
      <dgm:prSet/>
      <dgm:spPr/>
      <dgm:t>
        <a:bodyPr/>
        <a:lstStyle/>
        <a:p>
          <a:endParaRPr lang="sv-SE" sz="1200"/>
        </a:p>
      </dgm:t>
    </dgm:pt>
    <dgm:pt modelId="{CE8D5F54-5169-444F-9FD8-0DA37785F11E}">
      <dgm:prSet custT="1"/>
      <dgm:spPr/>
      <dgm:t>
        <a:bodyPr/>
        <a:lstStyle/>
        <a:p>
          <a:r>
            <a:rPr lang="sv-SE" sz="1200" dirty="0"/>
            <a:t>Koppling och samverkan mellan arbetsgivare och lärosäten</a:t>
          </a:r>
        </a:p>
      </dgm:t>
    </dgm:pt>
    <dgm:pt modelId="{95A51294-4733-46AE-BB3B-8151B8AF95C5}" type="parTrans" cxnId="{562E570D-77D6-490C-BC0E-F645B5894509}">
      <dgm:prSet/>
      <dgm:spPr>
        <a:noFill/>
      </dgm:spPr>
      <dgm:t>
        <a:bodyPr/>
        <a:lstStyle/>
        <a:p>
          <a:endParaRPr lang="sv-SE" sz="1200"/>
        </a:p>
      </dgm:t>
    </dgm:pt>
    <dgm:pt modelId="{F1A3D2C0-A63D-4052-A9FE-D5CE7F40F007}" type="sibTrans" cxnId="{562E570D-77D6-490C-BC0E-F645B5894509}">
      <dgm:prSet/>
      <dgm:spPr/>
      <dgm:t>
        <a:bodyPr/>
        <a:lstStyle/>
        <a:p>
          <a:endParaRPr lang="sv-SE" sz="1200"/>
        </a:p>
      </dgm:t>
    </dgm:pt>
    <dgm:pt modelId="{AA004E22-3412-4BE7-8C29-1476E6F407A8}">
      <dgm:prSet custScaleX="120954" custScaleY="45696" custRadScaleRad="97341" custRadScaleInc="-114165"/>
      <dgm:spPr/>
      <dgm:t>
        <a:bodyPr/>
        <a:lstStyle/>
        <a:p>
          <a:endParaRPr lang="sv-SE"/>
        </a:p>
      </dgm:t>
    </dgm:pt>
    <dgm:pt modelId="{80A07708-9ABF-4906-8E17-0B005B40237C}" type="parTrans" cxnId="{29CF050A-B6F3-4AEE-822F-6CAAC6DB8413}">
      <dgm:prSet/>
      <dgm:spPr/>
      <dgm:t>
        <a:bodyPr/>
        <a:lstStyle/>
        <a:p>
          <a:endParaRPr lang="sv-SE" sz="1200"/>
        </a:p>
      </dgm:t>
    </dgm:pt>
    <dgm:pt modelId="{09EAED15-7192-4615-8FA9-042BD17BA9DB}" type="sibTrans" cxnId="{29CF050A-B6F3-4AEE-822F-6CAAC6DB8413}">
      <dgm:prSet/>
      <dgm:spPr/>
      <dgm:t>
        <a:bodyPr/>
        <a:lstStyle/>
        <a:p>
          <a:endParaRPr lang="sv-SE" sz="1200"/>
        </a:p>
      </dgm:t>
    </dgm:pt>
    <dgm:pt modelId="{0F7FF85F-EFF1-47AA-9734-798B803E7B34}">
      <dgm:prSet phldrT="[Text]" custT="1"/>
      <dgm:spPr/>
      <dgm:t>
        <a:bodyPr/>
        <a:lstStyle/>
        <a:p>
          <a:r>
            <a:rPr lang="sv-SE" sz="1200" dirty="0"/>
            <a:t>Trainee</a:t>
          </a:r>
        </a:p>
      </dgm:t>
    </dgm:pt>
    <dgm:pt modelId="{D507D372-BDFA-421E-8E9B-D3418EB82215}" type="parTrans" cxnId="{E6A177F1-BF36-4DA9-B044-ACDDB90179A4}">
      <dgm:prSet/>
      <dgm:spPr>
        <a:noFill/>
      </dgm:spPr>
      <dgm:t>
        <a:bodyPr/>
        <a:lstStyle/>
        <a:p>
          <a:endParaRPr lang="sv-SE" sz="1200"/>
        </a:p>
      </dgm:t>
    </dgm:pt>
    <dgm:pt modelId="{90DCF3F1-6D05-4E64-9479-AE9AD680848B}" type="sibTrans" cxnId="{E6A177F1-BF36-4DA9-B044-ACDDB90179A4}">
      <dgm:prSet/>
      <dgm:spPr/>
      <dgm:t>
        <a:bodyPr/>
        <a:lstStyle/>
        <a:p>
          <a:endParaRPr lang="sv-SE" sz="1200"/>
        </a:p>
      </dgm:t>
    </dgm:pt>
    <dgm:pt modelId="{F4D12921-C475-4065-A819-128C71BB9A62}">
      <dgm:prSet custScaleX="120954" custScaleY="45696" custRadScaleRad="97341" custRadScaleInc="-114165"/>
      <dgm:spPr/>
      <dgm:t>
        <a:bodyPr/>
        <a:lstStyle/>
        <a:p>
          <a:endParaRPr lang="sv-SE"/>
        </a:p>
      </dgm:t>
    </dgm:pt>
    <dgm:pt modelId="{D11D39B1-CBE2-4341-9713-84B1BB3AA9F6}" type="parTrans" cxnId="{E6F0086E-84DB-45D8-B979-4F0426D3D739}">
      <dgm:prSet/>
      <dgm:spPr/>
      <dgm:t>
        <a:bodyPr/>
        <a:lstStyle/>
        <a:p>
          <a:endParaRPr lang="sv-SE" sz="1200"/>
        </a:p>
      </dgm:t>
    </dgm:pt>
    <dgm:pt modelId="{BC363911-A757-4E57-9DFB-CEC155D9EB47}" type="sibTrans" cxnId="{E6F0086E-84DB-45D8-B979-4F0426D3D739}">
      <dgm:prSet/>
      <dgm:spPr/>
      <dgm:t>
        <a:bodyPr/>
        <a:lstStyle/>
        <a:p>
          <a:endParaRPr lang="sv-SE" sz="1200"/>
        </a:p>
      </dgm:t>
    </dgm:pt>
    <dgm:pt modelId="{708E8CD6-D870-440B-AB89-D50BA143006C}">
      <dgm:prSet custT="1"/>
      <dgm:spPr/>
      <dgm:t>
        <a:bodyPr/>
        <a:lstStyle/>
        <a:p>
          <a:r>
            <a:rPr lang="sv-SE" sz="1200" dirty="0"/>
            <a:t>Arbetsmiljö</a:t>
          </a:r>
        </a:p>
      </dgm:t>
    </dgm:pt>
    <dgm:pt modelId="{AFE8D738-E199-4F54-9844-C44189851D01}" type="parTrans" cxnId="{64B3200E-67CE-4E78-818F-6D58830E98A1}">
      <dgm:prSet/>
      <dgm:spPr>
        <a:noFill/>
      </dgm:spPr>
      <dgm:t>
        <a:bodyPr/>
        <a:lstStyle/>
        <a:p>
          <a:endParaRPr lang="sv-SE" sz="1200"/>
        </a:p>
      </dgm:t>
    </dgm:pt>
    <dgm:pt modelId="{A61B8F26-1D62-403A-A262-EA9BEB9A66CB}" type="sibTrans" cxnId="{64B3200E-67CE-4E78-818F-6D58830E98A1}">
      <dgm:prSet/>
      <dgm:spPr/>
      <dgm:t>
        <a:bodyPr/>
        <a:lstStyle/>
        <a:p>
          <a:endParaRPr lang="sv-SE" sz="1200"/>
        </a:p>
      </dgm:t>
    </dgm:pt>
    <dgm:pt modelId="{9B5CCBAA-3FDA-462C-A9BD-42D229AF6278}">
      <dgm:prSet custT="1"/>
      <dgm:spPr/>
      <dgm:t>
        <a:bodyPr/>
        <a:lstStyle/>
        <a:p>
          <a:r>
            <a:rPr lang="sv-SE" sz="1200" dirty="0"/>
            <a:t>Arbeta i team</a:t>
          </a:r>
        </a:p>
      </dgm:t>
    </dgm:pt>
    <dgm:pt modelId="{B4A48339-F400-4B15-9138-84FB691D530B}" type="parTrans" cxnId="{4DF4DA2B-74E9-4565-B62B-F32CFC67004B}">
      <dgm:prSet/>
      <dgm:spPr>
        <a:noFill/>
      </dgm:spPr>
      <dgm:t>
        <a:bodyPr/>
        <a:lstStyle/>
        <a:p>
          <a:endParaRPr lang="sv-SE" sz="1200"/>
        </a:p>
      </dgm:t>
    </dgm:pt>
    <dgm:pt modelId="{3A813DA0-843B-4739-8B1F-C355FDEEDA6E}" type="sibTrans" cxnId="{4DF4DA2B-74E9-4565-B62B-F32CFC67004B}">
      <dgm:prSet/>
      <dgm:spPr/>
      <dgm:t>
        <a:bodyPr/>
        <a:lstStyle/>
        <a:p>
          <a:endParaRPr lang="sv-SE" sz="1200"/>
        </a:p>
      </dgm:t>
    </dgm:pt>
    <dgm:pt modelId="{3992CA06-ED89-4E28-90E9-099696539AC0}">
      <dgm:prSet phldrT="[Text]" custT="1"/>
      <dgm:spPr/>
      <dgm:t>
        <a:bodyPr/>
        <a:lstStyle/>
        <a:p>
          <a:r>
            <a:rPr lang="sv-SE" sz="1200" baseline="0" dirty="0"/>
            <a:t>Mentorer under/efter utbildning</a:t>
          </a:r>
        </a:p>
      </dgm:t>
    </dgm:pt>
    <dgm:pt modelId="{066D1C07-EA8D-441A-86C5-F736C4A34D9E}" type="sibTrans" cxnId="{CDBAED83-DD15-4776-B8E3-740086349DB0}">
      <dgm:prSet/>
      <dgm:spPr/>
      <dgm:t>
        <a:bodyPr/>
        <a:lstStyle/>
        <a:p>
          <a:endParaRPr lang="sv-SE" sz="1200"/>
        </a:p>
      </dgm:t>
    </dgm:pt>
    <dgm:pt modelId="{A8390B21-B90D-428B-AAD8-92A9F3DE1C82}" type="parTrans" cxnId="{CDBAED83-DD15-4776-B8E3-740086349DB0}">
      <dgm:prSet/>
      <dgm:spPr>
        <a:noFill/>
      </dgm:spPr>
      <dgm:t>
        <a:bodyPr/>
        <a:lstStyle/>
        <a:p>
          <a:endParaRPr lang="sv-SE" sz="1200"/>
        </a:p>
      </dgm:t>
    </dgm:pt>
    <dgm:pt modelId="{6CF292CA-259C-4594-B38F-0E7EF7EE08DF}">
      <dgm:prSet/>
      <dgm:spPr/>
      <dgm:t>
        <a:bodyPr/>
        <a:lstStyle/>
        <a:p>
          <a:r>
            <a:rPr lang="sv-SE" dirty="0"/>
            <a:t>Studiebesök, praktiker som föreläsare</a:t>
          </a:r>
        </a:p>
      </dgm:t>
    </dgm:pt>
    <dgm:pt modelId="{7955489A-7DC8-4F74-9EBF-C5FAC3549780}" type="parTrans" cxnId="{702F0044-5C7C-46C8-B839-846EE3C8DF92}">
      <dgm:prSet/>
      <dgm:spPr>
        <a:noFill/>
      </dgm:spPr>
      <dgm:t>
        <a:bodyPr/>
        <a:lstStyle/>
        <a:p>
          <a:endParaRPr lang="sv-SE"/>
        </a:p>
      </dgm:t>
    </dgm:pt>
    <dgm:pt modelId="{B8F0C1DC-518D-4690-8591-0178C4DA1112}" type="sibTrans" cxnId="{702F0044-5C7C-46C8-B839-846EE3C8DF92}">
      <dgm:prSet/>
      <dgm:spPr/>
      <dgm:t>
        <a:bodyPr/>
        <a:lstStyle/>
        <a:p>
          <a:endParaRPr lang="sv-SE"/>
        </a:p>
      </dgm:t>
    </dgm:pt>
    <dgm:pt modelId="{F398D776-0E80-4590-B662-EF6C75A36390}" type="pres">
      <dgm:prSet presAssocID="{144407A9-6361-4383-A635-429D9A46635B}" presName="cycle" presStyleCnt="0">
        <dgm:presLayoutVars>
          <dgm:chMax val="1"/>
          <dgm:dir/>
          <dgm:animLvl val="ctr"/>
          <dgm:resizeHandles val="exact"/>
        </dgm:presLayoutVars>
      </dgm:prSet>
      <dgm:spPr/>
      <dgm:t>
        <a:bodyPr/>
        <a:lstStyle/>
        <a:p>
          <a:endParaRPr lang="sv-SE"/>
        </a:p>
      </dgm:t>
    </dgm:pt>
    <dgm:pt modelId="{BEB497D1-9D83-4113-8974-E176AE1B214B}" type="pres">
      <dgm:prSet presAssocID="{F62504D6-910A-4620-B55B-07B55ED23D21}" presName="centerShape" presStyleLbl="node0" presStyleIdx="0" presStyleCnt="1" custScaleX="174504" custScaleY="163594" custLinFactNeighborX="-1562" custLinFactNeighborY="-6550"/>
      <dgm:spPr/>
      <dgm:t>
        <a:bodyPr/>
        <a:lstStyle/>
        <a:p>
          <a:endParaRPr lang="sv-SE"/>
        </a:p>
      </dgm:t>
    </dgm:pt>
    <dgm:pt modelId="{5D16F32C-3D0F-4CD6-8CE9-3309450CC3BB}" type="pres">
      <dgm:prSet presAssocID="{CB38DE4B-EE7A-46D4-9399-207E826D51AD}" presName="parTrans" presStyleLbl="bgSibTrans2D1" presStyleIdx="0" presStyleCnt="14"/>
      <dgm:spPr/>
      <dgm:t>
        <a:bodyPr/>
        <a:lstStyle/>
        <a:p>
          <a:endParaRPr lang="sv-SE"/>
        </a:p>
      </dgm:t>
    </dgm:pt>
    <dgm:pt modelId="{420257F1-7F09-4DE3-A126-04EFCC8484AF}" type="pres">
      <dgm:prSet presAssocID="{4FD5033E-AB80-4071-9635-02ADE574F056}" presName="node" presStyleLbl="node1" presStyleIdx="0" presStyleCnt="14" custScaleX="359998" custScaleY="84732">
        <dgm:presLayoutVars>
          <dgm:bulletEnabled val="1"/>
        </dgm:presLayoutVars>
      </dgm:prSet>
      <dgm:spPr/>
      <dgm:t>
        <a:bodyPr/>
        <a:lstStyle/>
        <a:p>
          <a:endParaRPr lang="sv-SE"/>
        </a:p>
      </dgm:t>
    </dgm:pt>
    <dgm:pt modelId="{3163A418-C1B7-445D-92B9-BF2CBADC3EE2}" type="pres">
      <dgm:prSet presAssocID="{47885293-AED4-4517-ADF7-5CD54E11C436}" presName="parTrans" presStyleLbl="bgSibTrans2D1" presStyleIdx="1" presStyleCnt="14"/>
      <dgm:spPr/>
      <dgm:t>
        <a:bodyPr/>
        <a:lstStyle/>
        <a:p>
          <a:endParaRPr lang="sv-SE"/>
        </a:p>
      </dgm:t>
    </dgm:pt>
    <dgm:pt modelId="{EA019AC4-D537-42BF-AA70-F3A4E0377A61}" type="pres">
      <dgm:prSet presAssocID="{C52661BB-5345-4CEF-B41A-1110E922D206}" presName="node" presStyleLbl="node1" presStyleIdx="1" presStyleCnt="14" custScaleX="226163" custScaleY="82458" custRadScaleRad="97531" custRadScaleInc="-33707">
        <dgm:presLayoutVars>
          <dgm:bulletEnabled val="1"/>
        </dgm:presLayoutVars>
      </dgm:prSet>
      <dgm:spPr/>
      <dgm:t>
        <a:bodyPr/>
        <a:lstStyle/>
        <a:p>
          <a:endParaRPr lang="sv-SE"/>
        </a:p>
      </dgm:t>
    </dgm:pt>
    <dgm:pt modelId="{16CE9899-C476-4F2C-A261-BEAEBC571B9C}" type="pres">
      <dgm:prSet presAssocID="{7955489A-7DC8-4F74-9EBF-C5FAC3549780}" presName="parTrans" presStyleLbl="bgSibTrans2D1" presStyleIdx="2" presStyleCnt="14"/>
      <dgm:spPr/>
      <dgm:t>
        <a:bodyPr/>
        <a:lstStyle/>
        <a:p>
          <a:endParaRPr lang="sv-SE"/>
        </a:p>
      </dgm:t>
    </dgm:pt>
    <dgm:pt modelId="{A0BBC57A-2454-4A4D-9EE0-A1F52550D274}" type="pres">
      <dgm:prSet presAssocID="{6CF292CA-259C-4594-B38F-0E7EF7EE08DF}" presName="node" presStyleLbl="node1" presStyleIdx="2" presStyleCnt="14" custScaleX="226163" custScaleY="82458" custRadScaleRad="96129" custRadScaleInc="-64171">
        <dgm:presLayoutVars>
          <dgm:bulletEnabled val="1"/>
        </dgm:presLayoutVars>
      </dgm:prSet>
      <dgm:spPr/>
      <dgm:t>
        <a:bodyPr/>
        <a:lstStyle/>
        <a:p>
          <a:endParaRPr lang="sv-SE"/>
        </a:p>
      </dgm:t>
    </dgm:pt>
    <dgm:pt modelId="{ACBE14B9-9713-4993-871C-92DF566CA285}" type="pres">
      <dgm:prSet presAssocID="{D507D372-BDFA-421E-8E9B-D3418EB82215}" presName="parTrans" presStyleLbl="bgSibTrans2D1" presStyleIdx="3" presStyleCnt="14"/>
      <dgm:spPr>
        <a:prstGeom prst="rect">
          <a:avLst/>
        </a:prstGeom>
      </dgm:spPr>
      <dgm:t>
        <a:bodyPr/>
        <a:lstStyle/>
        <a:p>
          <a:endParaRPr lang="sv-SE"/>
        </a:p>
      </dgm:t>
    </dgm:pt>
    <dgm:pt modelId="{C1A5EF30-E723-4135-913F-9D4BDE23BBE6}" type="pres">
      <dgm:prSet presAssocID="{0F7FF85F-EFF1-47AA-9734-798B803E7B34}" presName="node" presStyleLbl="node1" presStyleIdx="3" presStyleCnt="14" custScaleX="138974" custScaleY="53119" custRadScaleRad="97027" custRadScaleInc="74315">
        <dgm:presLayoutVars>
          <dgm:bulletEnabled val="1"/>
        </dgm:presLayoutVars>
      </dgm:prSet>
      <dgm:spPr/>
      <dgm:t>
        <a:bodyPr/>
        <a:lstStyle/>
        <a:p>
          <a:endParaRPr lang="sv-SE"/>
        </a:p>
      </dgm:t>
    </dgm:pt>
    <dgm:pt modelId="{A23A16A7-0890-4BF4-997C-007D0FE48636}" type="pres">
      <dgm:prSet presAssocID="{CDFE03D3-8752-4C9B-85E7-8D529DC6F9E1}" presName="parTrans" presStyleLbl="bgSibTrans2D1" presStyleIdx="4" presStyleCnt="14"/>
      <dgm:spPr/>
      <dgm:t>
        <a:bodyPr/>
        <a:lstStyle/>
        <a:p>
          <a:endParaRPr lang="sv-SE"/>
        </a:p>
      </dgm:t>
    </dgm:pt>
    <dgm:pt modelId="{033A1780-0A86-47D9-8D86-5F739070CD0C}" type="pres">
      <dgm:prSet presAssocID="{59F18C68-A135-4839-8970-E672BDF4E222}" presName="node" presStyleLbl="node1" presStyleIdx="4" presStyleCnt="14" custScaleX="183318" custScaleY="59266" custRadScaleRad="93500" custRadScaleInc="-196560">
        <dgm:presLayoutVars>
          <dgm:bulletEnabled val="1"/>
        </dgm:presLayoutVars>
      </dgm:prSet>
      <dgm:spPr/>
      <dgm:t>
        <a:bodyPr/>
        <a:lstStyle/>
        <a:p>
          <a:endParaRPr lang="sv-SE"/>
        </a:p>
      </dgm:t>
    </dgm:pt>
    <dgm:pt modelId="{FB2029E2-6EE8-4197-8C3E-499768ACF46F}" type="pres">
      <dgm:prSet presAssocID="{A8390B21-B90D-428B-AAD8-92A9F3DE1C82}" presName="parTrans" presStyleLbl="bgSibTrans2D1" presStyleIdx="5" presStyleCnt="14"/>
      <dgm:spPr/>
      <dgm:t>
        <a:bodyPr/>
        <a:lstStyle/>
        <a:p>
          <a:endParaRPr lang="sv-SE"/>
        </a:p>
      </dgm:t>
    </dgm:pt>
    <dgm:pt modelId="{D8444B85-18F2-42A8-839E-E02ED5730B30}" type="pres">
      <dgm:prSet presAssocID="{3992CA06-ED89-4E28-90E9-099696539AC0}" presName="node" presStyleLbl="node1" presStyleIdx="5" presStyleCnt="14" custScaleX="237433" custScaleY="80302" custRadScaleRad="92942" custRadScaleInc="-209597">
        <dgm:presLayoutVars>
          <dgm:bulletEnabled val="1"/>
        </dgm:presLayoutVars>
      </dgm:prSet>
      <dgm:spPr/>
      <dgm:t>
        <a:bodyPr/>
        <a:lstStyle/>
        <a:p>
          <a:endParaRPr lang="sv-SE"/>
        </a:p>
      </dgm:t>
    </dgm:pt>
    <dgm:pt modelId="{0F352CFA-C374-456B-B8DC-1F4A79BED577}" type="pres">
      <dgm:prSet presAssocID="{67FB9AB4-BD9D-419F-9F55-0180A18D7AC6}" presName="parTrans" presStyleLbl="bgSibTrans2D1" presStyleIdx="6" presStyleCnt="14"/>
      <dgm:spPr/>
      <dgm:t>
        <a:bodyPr/>
        <a:lstStyle/>
        <a:p>
          <a:endParaRPr lang="sv-SE"/>
        </a:p>
      </dgm:t>
    </dgm:pt>
    <dgm:pt modelId="{0EA9FB83-46CE-497E-BDB5-9B5D2CB10D50}" type="pres">
      <dgm:prSet presAssocID="{084B2933-3914-456F-8A96-64CFAF925006}" presName="node" presStyleLbl="node1" presStyleIdx="6" presStyleCnt="14" custScaleX="193916" custScaleY="135894" custRadScaleRad="90235" custRadScaleInc="-83983">
        <dgm:presLayoutVars>
          <dgm:bulletEnabled val="1"/>
        </dgm:presLayoutVars>
      </dgm:prSet>
      <dgm:spPr/>
      <dgm:t>
        <a:bodyPr/>
        <a:lstStyle/>
        <a:p>
          <a:endParaRPr lang="sv-SE"/>
        </a:p>
      </dgm:t>
    </dgm:pt>
    <dgm:pt modelId="{B01F5705-EFD9-4B0A-B69F-AFD380812827}" type="pres">
      <dgm:prSet presAssocID="{959A1EAF-7F26-4F77-B2AC-8C614FB77610}" presName="parTrans" presStyleLbl="bgSibTrans2D1" presStyleIdx="7" presStyleCnt="14"/>
      <dgm:spPr/>
      <dgm:t>
        <a:bodyPr/>
        <a:lstStyle/>
        <a:p>
          <a:endParaRPr lang="sv-SE"/>
        </a:p>
      </dgm:t>
    </dgm:pt>
    <dgm:pt modelId="{2419532F-BEF7-40FE-A6F2-16654EFC3CA3}" type="pres">
      <dgm:prSet presAssocID="{01175BF0-9B5B-427A-93BD-03D642B5F10C}" presName="node" presStyleLbl="node1" presStyleIdx="7" presStyleCnt="14" custScaleX="184923" custScaleY="147775" custRadScaleRad="85726" custRadScaleInc="1360">
        <dgm:presLayoutVars>
          <dgm:bulletEnabled val="1"/>
        </dgm:presLayoutVars>
      </dgm:prSet>
      <dgm:spPr/>
      <dgm:t>
        <a:bodyPr/>
        <a:lstStyle/>
        <a:p>
          <a:endParaRPr lang="sv-SE"/>
        </a:p>
      </dgm:t>
    </dgm:pt>
    <dgm:pt modelId="{D2DDC060-7778-4561-9B9C-CEAB925D6192}" type="pres">
      <dgm:prSet presAssocID="{A0ACA649-DFB0-47B7-927E-D4E1D2B079AF}" presName="parTrans" presStyleLbl="bgSibTrans2D1" presStyleIdx="8" presStyleCnt="14"/>
      <dgm:spPr/>
      <dgm:t>
        <a:bodyPr/>
        <a:lstStyle/>
        <a:p>
          <a:endParaRPr lang="sv-SE"/>
        </a:p>
      </dgm:t>
    </dgm:pt>
    <dgm:pt modelId="{645750A7-6DB1-4373-901A-9698D6DE9B98}" type="pres">
      <dgm:prSet presAssocID="{1DD3BF9F-EB85-4362-A029-4B1A93EC95A5}" presName="node" presStyleLbl="node1" presStyleIdx="8" presStyleCnt="14" custScaleX="190113" custScaleY="78274" custRadScaleRad="84437" custRadScaleInc="365086">
        <dgm:presLayoutVars>
          <dgm:bulletEnabled val="1"/>
        </dgm:presLayoutVars>
      </dgm:prSet>
      <dgm:spPr/>
      <dgm:t>
        <a:bodyPr/>
        <a:lstStyle/>
        <a:p>
          <a:endParaRPr lang="sv-SE"/>
        </a:p>
      </dgm:t>
    </dgm:pt>
    <dgm:pt modelId="{C0A28A47-E029-4976-A601-FCCEA28B41D9}" type="pres">
      <dgm:prSet presAssocID="{02CE3CEC-4F1F-4E6D-9A59-9CFE3A8E366F}" presName="parTrans" presStyleLbl="bgSibTrans2D1" presStyleIdx="9" presStyleCnt="14"/>
      <dgm:spPr/>
      <dgm:t>
        <a:bodyPr/>
        <a:lstStyle/>
        <a:p>
          <a:endParaRPr lang="sv-SE"/>
        </a:p>
      </dgm:t>
    </dgm:pt>
    <dgm:pt modelId="{ECCB55ED-DDA2-4B64-B156-4B3D3C335C73}" type="pres">
      <dgm:prSet presAssocID="{6B63D797-9D26-42D8-958F-488F17094B3D}" presName="node" presStyleLbl="node1" presStyleIdx="9" presStyleCnt="14" custScaleX="263024" custRadScaleRad="89836" custRadScaleInc="345484">
        <dgm:presLayoutVars>
          <dgm:bulletEnabled val="1"/>
        </dgm:presLayoutVars>
      </dgm:prSet>
      <dgm:spPr/>
      <dgm:t>
        <a:bodyPr/>
        <a:lstStyle/>
        <a:p>
          <a:endParaRPr lang="sv-SE"/>
        </a:p>
      </dgm:t>
    </dgm:pt>
    <dgm:pt modelId="{CFDEDDF7-0D90-4EA6-9E99-2858008568AB}" type="pres">
      <dgm:prSet presAssocID="{954CB1AC-B2A0-4716-8FCB-0B6450ED9433}" presName="parTrans" presStyleLbl="bgSibTrans2D1" presStyleIdx="10" presStyleCnt="14"/>
      <dgm:spPr/>
      <dgm:t>
        <a:bodyPr/>
        <a:lstStyle/>
        <a:p>
          <a:endParaRPr lang="sv-SE"/>
        </a:p>
      </dgm:t>
    </dgm:pt>
    <dgm:pt modelId="{ABCDB095-3F46-4225-8F97-FB1A17018B8A}" type="pres">
      <dgm:prSet presAssocID="{AB155CD8-66C0-4C79-8B3D-466D530B90C4}" presName="node" presStyleLbl="node1" presStyleIdx="10" presStyleCnt="14" custScaleX="221238" custScaleY="82305" custRadScaleRad="86541" custRadScaleInc="-109864">
        <dgm:presLayoutVars>
          <dgm:bulletEnabled val="1"/>
        </dgm:presLayoutVars>
      </dgm:prSet>
      <dgm:spPr/>
      <dgm:t>
        <a:bodyPr/>
        <a:lstStyle/>
        <a:p>
          <a:endParaRPr lang="sv-SE"/>
        </a:p>
      </dgm:t>
    </dgm:pt>
    <dgm:pt modelId="{1B437D76-F834-4B73-9B97-A8F12DC9E0C9}" type="pres">
      <dgm:prSet presAssocID="{AFE8D738-E199-4F54-9844-C44189851D01}" presName="parTrans" presStyleLbl="bgSibTrans2D1" presStyleIdx="11" presStyleCnt="14"/>
      <dgm:spPr/>
      <dgm:t>
        <a:bodyPr/>
        <a:lstStyle/>
        <a:p>
          <a:endParaRPr lang="sv-SE"/>
        </a:p>
      </dgm:t>
    </dgm:pt>
    <dgm:pt modelId="{97D77E31-7ECF-4BC9-8C7C-76F5BFB4031F}" type="pres">
      <dgm:prSet presAssocID="{708E8CD6-D870-440B-AB89-D50BA143006C}" presName="node" presStyleLbl="node1" presStyleIdx="11" presStyleCnt="14" custScaleX="184096" custScaleY="48613" custRadScaleRad="85941" custRadScaleInc="-33937">
        <dgm:presLayoutVars>
          <dgm:bulletEnabled val="1"/>
        </dgm:presLayoutVars>
      </dgm:prSet>
      <dgm:spPr/>
      <dgm:t>
        <a:bodyPr/>
        <a:lstStyle/>
        <a:p>
          <a:endParaRPr lang="sv-SE"/>
        </a:p>
      </dgm:t>
    </dgm:pt>
    <dgm:pt modelId="{CA1DFCF4-AADC-4393-A607-4C6E0B94F96F}" type="pres">
      <dgm:prSet presAssocID="{B4A48339-F400-4B15-9138-84FB691D530B}" presName="parTrans" presStyleLbl="bgSibTrans2D1" presStyleIdx="12" presStyleCnt="14"/>
      <dgm:spPr/>
      <dgm:t>
        <a:bodyPr/>
        <a:lstStyle/>
        <a:p>
          <a:endParaRPr lang="sv-SE"/>
        </a:p>
      </dgm:t>
    </dgm:pt>
    <dgm:pt modelId="{30D9F5C1-7019-4B9C-BFBC-4FD72597A21F}" type="pres">
      <dgm:prSet presAssocID="{9B5CCBAA-3FDA-462C-A9BD-42D229AF6278}" presName="node" presStyleLbl="node1" presStyleIdx="12" presStyleCnt="14" custScaleX="182256" custScaleY="73781" custRadScaleRad="85534" custRadScaleInc="-217633">
        <dgm:presLayoutVars>
          <dgm:bulletEnabled val="1"/>
        </dgm:presLayoutVars>
      </dgm:prSet>
      <dgm:spPr/>
      <dgm:t>
        <a:bodyPr/>
        <a:lstStyle/>
        <a:p>
          <a:endParaRPr lang="sv-SE"/>
        </a:p>
      </dgm:t>
    </dgm:pt>
    <dgm:pt modelId="{631DA979-B2A3-4CC2-85D2-A0FECD543CB9}" type="pres">
      <dgm:prSet presAssocID="{95A51294-4733-46AE-BB3B-8151B8AF95C5}" presName="parTrans" presStyleLbl="bgSibTrans2D1" presStyleIdx="13" presStyleCnt="14"/>
      <dgm:spPr/>
      <dgm:t>
        <a:bodyPr/>
        <a:lstStyle/>
        <a:p>
          <a:endParaRPr lang="sv-SE"/>
        </a:p>
      </dgm:t>
    </dgm:pt>
    <dgm:pt modelId="{EDA54F85-9B70-4E20-B025-334671D87195}" type="pres">
      <dgm:prSet presAssocID="{CE8D5F54-5169-444F-9FD8-0DA37785F11E}" presName="node" presStyleLbl="node1" presStyleIdx="13" presStyleCnt="14" custScaleX="290051" custScaleY="114267" custRadScaleRad="97017" custRadScaleInc="5254">
        <dgm:presLayoutVars>
          <dgm:bulletEnabled val="1"/>
        </dgm:presLayoutVars>
      </dgm:prSet>
      <dgm:spPr/>
      <dgm:t>
        <a:bodyPr/>
        <a:lstStyle/>
        <a:p>
          <a:endParaRPr lang="sv-SE"/>
        </a:p>
      </dgm:t>
    </dgm:pt>
  </dgm:ptLst>
  <dgm:cxnLst>
    <dgm:cxn modelId="{DD7D6CD5-E615-44CA-AC66-867C4874B550}" type="presOf" srcId="{9B5CCBAA-3FDA-462C-A9BD-42D229AF6278}" destId="{30D9F5C1-7019-4B9C-BFBC-4FD72597A21F}" srcOrd="0" destOrd="0" presId="urn:microsoft.com/office/officeart/2005/8/layout/radial4"/>
    <dgm:cxn modelId="{E6774B11-D06D-4D35-B58A-524210C570CE}" type="presOf" srcId="{D507D372-BDFA-421E-8E9B-D3418EB82215}" destId="{ACBE14B9-9713-4993-871C-92DF566CA285}" srcOrd="0" destOrd="0" presId="urn:microsoft.com/office/officeart/2005/8/layout/radial4"/>
    <dgm:cxn modelId="{9D9C1D1F-D7C9-4F68-8B1B-23339443FAD4}" type="presOf" srcId="{959A1EAF-7F26-4F77-B2AC-8C614FB77610}" destId="{B01F5705-EFD9-4B0A-B69F-AFD380812827}" srcOrd="0" destOrd="0" presId="urn:microsoft.com/office/officeart/2005/8/layout/radial4"/>
    <dgm:cxn modelId="{70601A7A-E6E2-491D-819B-64186403685D}" type="presOf" srcId="{CDFE03D3-8752-4C9B-85E7-8D529DC6F9E1}" destId="{A23A16A7-0890-4BF4-997C-007D0FE48636}" srcOrd="0" destOrd="0" presId="urn:microsoft.com/office/officeart/2005/8/layout/radial4"/>
    <dgm:cxn modelId="{16A8B952-3368-4B77-BA78-C9C04ACF16B4}" type="presOf" srcId="{F62504D6-910A-4620-B55B-07B55ED23D21}" destId="{BEB497D1-9D83-4113-8974-E176AE1B214B}" srcOrd="0" destOrd="0" presId="urn:microsoft.com/office/officeart/2005/8/layout/radial4"/>
    <dgm:cxn modelId="{5019492B-995B-423F-8773-24E36C739B36}" type="presOf" srcId="{4FD5033E-AB80-4071-9635-02ADE574F056}" destId="{420257F1-7F09-4DE3-A126-04EFCC8484AF}" srcOrd="0" destOrd="0" presId="urn:microsoft.com/office/officeart/2005/8/layout/radial4"/>
    <dgm:cxn modelId="{D2CDC842-2701-4674-A934-4A1BFE0F9FC6}" type="presOf" srcId="{AFE8D738-E199-4F54-9844-C44189851D01}" destId="{1B437D76-F834-4B73-9B97-A8F12DC9E0C9}" srcOrd="0" destOrd="0" presId="urn:microsoft.com/office/officeart/2005/8/layout/radial4"/>
    <dgm:cxn modelId="{3043EE96-AE32-49F7-938E-F2B78E9CBE4C}" srcId="{F62504D6-910A-4620-B55B-07B55ED23D21}" destId="{084B2933-3914-456F-8A96-64CFAF925006}" srcOrd="6" destOrd="0" parTransId="{67FB9AB4-BD9D-419F-9F55-0180A18D7AC6}" sibTransId="{32E05F9A-2743-4E3F-9C08-EDB2EACEF42D}"/>
    <dgm:cxn modelId="{BE4569F1-C039-4BE5-B1D8-ABAE796010D9}" type="presOf" srcId="{67FB9AB4-BD9D-419F-9F55-0180A18D7AC6}" destId="{0F352CFA-C374-456B-B8DC-1F4A79BED577}" srcOrd="0" destOrd="0" presId="urn:microsoft.com/office/officeart/2005/8/layout/radial4"/>
    <dgm:cxn modelId="{D6D5C9BC-0403-477E-8C20-D20AA8FE7473}" type="presOf" srcId="{47885293-AED4-4517-ADF7-5CD54E11C436}" destId="{3163A418-C1B7-445D-92B9-BF2CBADC3EE2}" srcOrd="0" destOrd="0" presId="urn:microsoft.com/office/officeart/2005/8/layout/radial4"/>
    <dgm:cxn modelId="{F6BC3345-2A30-4928-8380-00B3233A1FB4}" type="presOf" srcId="{7955489A-7DC8-4F74-9EBF-C5FAC3549780}" destId="{16CE9899-C476-4F2C-A261-BEAEBC571B9C}" srcOrd="0" destOrd="0" presId="urn:microsoft.com/office/officeart/2005/8/layout/radial4"/>
    <dgm:cxn modelId="{ADD1F8E5-51F4-46C6-95CB-B80EDF54CBF4}" type="presOf" srcId="{01175BF0-9B5B-427A-93BD-03D642B5F10C}" destId="{2419532F-BEF7-40FE-A6F2-16654EFC3CA3}" srcOrd="0" destOrd="0" presId="urn:microsoft.com/office/officeart/2005/8/layout/radial4"/>
    <dgm:cxn modelId="{A2106F19-12F6-4067-9839-90CCE7EDE48E}" type="presOf" srcId="{02CE3CEC-4F1F-4E6D-9A59-9CFE3A8E366F}" destId="{C0A28A47-E029-4976-A601-FCCEA28B41D9}" srcOrd="0" destOrd="0" presId="urn:microsoft.com/office/officeart/2005/8/layout/radial4"/>
    <dgm:cxn modelId="{BB3CE370-A228-4B9C-9B63-EEF1DCAEC63E}" srcId="{F62504D6-910A-4620-B55B-07B55ED23D21}" destId="{01175BF0-9B5B-427A-93BD-03D642B5F10C}" srcOrd="7" destOrd="0" parTransId="{959A1EAF-7F26-4F77-B2AC-8C614FB77610}" sibTransId="{B41AE397-718B-4DE6-AEF5-F277D3BE50CE}"/>
    <dgm:cxn modelId="{4DF4DA2B-74E9-4565-B62B-F32CFC67004B}" srcId="{F62504D6-910A-4620-B55B-07B55ED23D21}" destId="{9B5CCBAA-3FDA-462C-A9BD-42D229AF6278}" srcOrd="12" destOrd="0" parTransId="{B4A48339-F400-4B15-9138-84FB691D530B}" sibTransId="{3A813DA0-843B-4739-8B1F-C355FDEEDA6E}"/>
    <dgm:cxn modelId="{BD87C5AB-1A27-4286-9605-B72741C7D024}" type="presOf" srcId="{95A51294-4733-46AE-BB3B-8151B8AF95C5}" destId="{631DA979-B2A3-4CC2-85D2-A0FECD543CB9}" srcOrd="0" destOrd="0" presId="urn:microsoft.com/office/officeart/2005/8/layout/radial4"/>
    <dgm:cxn modelId="{12593057-9378-41F7-873D-0EBFC89A9949}" type="presOf" srcId="{0F7FF85F-EFF1-47AA-9734-798B803E7B34}" destId="{C1A5EF30-E723-4135-913F-9D4BDE23BBE6}" srcOrd="0" destOrd="0" presId="urn:microsoft.com/office/officeart/2005/8/layout/radial4"/>
    <dgm:cxn modelId="{E1111664-7603-462C-94EA-D32B8B404E27}" srcId="{F62504D6-910A-4620-B55B-07B55ED23D21}" destId="{C52661BB-5345-4CEF-B41A-1110E922D206}" srcOrd="1" destOrd="0" parTransId="{47885293-AED4-4517-ADF7-5CD54E11C436}" sibTransId="{C791EA40-B70B-45EC-95CB-92B34FD4D61F}"/>
    <dgm:cxn modelId="{F72A1077-256F-4BFA-9353-5874D92C336E}" type="presOf" srcId="{C52661BB-5345-4CEF-B41A-1110E922D206}" destId="{EA019AC4-D537-42BF-AA70-F3A4E0377A61}" srcOrd="0" destOrd="0" presId="urn:microsoft.com/office/officeart/2005/8/layout/radial4"/>
    <dgm:cxn modelId="{E6F0086E-84DB-45D8-B979-4F0426D3D739}" srcId="{144407A9-6361-4383-A635-429D9A46635B}" destId="{F4D12921-C475-4065-A819-128C71BB9A62}" srcOrd="2" destOrd="0" parTransId="{D11D39B1-CBE2-4341-9713-84B1BB3AA9F6}" sibTransId="{BC363911-A757-4E57-9DFB-CEC155D9EB47}"/>
    <dgm:cxn modelId="{F720B949-420A-47CF-A58E-0EDE50753B47}" srcId="{F62504D6-910A-4620-B55B-07B55ED23D21}" destId="{1DD3BF9F-EB85-4362-A029-4B1A93EC95A5}" srcOrd="8" destOrd="0" parTransId="{A0ACA649-DFB0-47B7-927E-D4E1D2B079AF}" sibTransId="{1DED8F96-76CA-470D-A5D3-7DB4F4CD194D}"/>
    <dgm:cxn modelId="{97326BDB-93BC-4742-8BE2-581BA51B6C90}" type="presOf" srcId="{A0ACA649-DFB0-47B7-927E-D4E1D2B079AF}" destId="{D2DDC060-7778-4561-9B9C-CEAB925D6192}" srcOrd="0" destOrd="0" presId="urn:microsoft.com/office/officeart/2005/8/layout/radial4"/>
    <dgm:cxn modelId="{33681046-C0D7-4CF9-B7C3-073797624CA4}" type="presOf" srcId="{3992CA06-ED89-4E28-90E9-099696539AC0}" destId="{D8444B85-18F2-42A8-839E-E02ED5730B30}" srcOrd="0" destOrd="0" presId="urn:microsoft.com/office/officeart/2005/8/layout/radial4"/>
    <dgm:cxn modelId="{2B1B0D3C-2C94-46D0-8A87-AE02047626EA}" srcId="{F62504D6-910A-4620-B55B-07B55ED23D21}" destId="{AB155CD8-66C0-4C79-8B3D-466D530B90C4}" srcOrd="10" destOrd="0" parTransId="{954CB1AC-B2A0-4716-8FCB-0B6450ED9433}" sibTransId="{67186696-6589-4739-A530-F4C6D36202EE}"/>
    <dgm:cxn modelId="{41AF63C9-D9F6-4E11-B6E7-DEC09FCA02E6}" srcId="{F62504D6-910A-4620-B55B-07B55ED23D21}" destId="{59F18C68-A135-4839-8970-E672BDF4E222}" srcOrd="4" destOrd="0" parTransId="{CDFE03D3-8752-4C9B-85E7-8D529DC6F9E1}" sibTransId="{28CDA9C3-7B9E-4314-AD73-E477AFAAB250}"/>
    <dgm:cxn modelId="{29CF050A-B6F3-4AEE-822F-6CAAC6DB8413}" srcId="{144407A9-6361-4383-A635-429D9A46635B}" destId="{AA004E22-3412-4BE7-8C29-1476E6F407A8}" srcOrd="1" destOrd="0" parTransId="{80A07708-9ABF-4906-8E17-0B005B40237C}" sibTransId="{09EAED15-7192-4615-8FA9-042BD17BA9DB}"/>
    <dgm:cxn modelId="{85F254F1-48BF-4185-8D40-D868B9074AB6}" type="presOf" srcId="{A8390B21-B90D-428B-AAD8-92A9F3DE1C82}" destId="{FB2029E2-6EE8-4197-8C3E-499768ACF46F}" srcOrd="0" destOrd="0" presId="urn:microsoft.com/office/officeart/2005/8/layout/radial4"/>
    <dgm:cxn modelId="{702F0044-5C7C-46C8-B839-846EE3C8DF92}" srcId="{F62504D6-910A-4620-B55B-07B55ED23D21}" destId="{6CF292CA-259C-4594-B38F-0E7EF7EE08DF}" srcOrd="2" destOrd="0" parTransId="{7955489A-7DC8-4F74-9EBF-C5FAC3549780}" sibTransId="{B8F0C1DC-518D-4690-8591-0178C4DA1112}"/>
    <dgm:cxn modelId="{57697DB5-5B64-40DD-AF1C-DF9AB188AB0C}" srcId="{F62504D6-910A-4620-B55B-07B55ED23D21}" destId="{4FD5033E-AB80-4071-9635-02ADE574F056}" srcOrd="0" destOrd="0" parTransId="{CB38DE4B-EE7A-46D4-9399-207E826D51AD}" sibTransId="{181ADA0C-E0B8-44E5-9E6F-5F0375536B48}"/>
    <dgm:cxn modelId="{333816BF-AE1D-427E-9E20-55C4ED643DC8}" type="presOf" srcId="{6B63D797-9D26-42D8-958F-488F17094B3D}" destId="{ECCB55ED-DDA2-4B64-B156-4B3D3C335C73}" srcOrd="0" destOrd="0" presId="urn:microsoft.com/office/officeart/2005/8/layout/radial4"/>
    <dgm:cxn modelId="{E74E4E0A-FB50-49FA-A697-96002575FF41}" type="presOf" srcId="{708E8CD6-D870-440B-AB89-D50BA143006C}" destId="{97D77E31-7ECF-4BC9-8C7C-76F5BFB4031F}" srcOrd="0" destOrd="0" presId="urn:microsoft.com/office/officeart/2005/8/layout/radial4"/>
    <dgm:cxn modelId="{AEF8F603-3278-4560-848B-D1F413875FA2}" type="presOf" srcId="{954CB1AC-B2A0-4716-8FCB-0B6450ED9433}" destId="{CFDEDDF7-0D90-4EA6-9E99-2858008568AB}" srcOrd="0" destOrd="0" presId="urn:microsoft.com/office/officeart/2005/8/layout/radial4"/>
    <dgm:cxn modelId="{2DA04028-D41E-465D-8457-52E65366853A}" type="presOf" srcId="{59F18C68-A135-4839-8970-E672BDF4E222}" destId="{033A1780-0A86-47D9-8D86-5F739070CD0C}" srcOrd="0" destOrd="0" presId="urn:microsoft.com/office/officeart/2005/8/layout/radial4"/>
    <dgm:cxn modelId="{E6A177F1-BF36-4DA9-B044-ACDDB90179A4}" srcId="{F62504D6-910A-4620-B55B-07B55ED23D21}" destId="{0F7FF85F-EFF1-47AA-9734-798B803E7B34}" srcOrd="3" destOrd="0" parTransId="{D507D372-BDFA-421E-8E9B-D3418EB82215}" sibTransId="{90DCF3F1-6D05-4E64-9479-AE9AD680848B}"/>
    <dgm:cxn modelId="{53C2BB6A-AC4E-434B-9CB4-74C0315889AD}" type="presOf" srcId="{6CF292CA-259C-4594-B38F-0E7EF7EE08DF}" destId="{A0BBC57A-2454-4A4D-9EE0-A1F52550D274}" srcOrd="0" destOrd="0" presId="urn:microsoft.com/office/officeart/2005/8/layout/radial4"/>
    <dgm:cxn modelId="{64B3200E-67CE-4E78-818F-6D58830E98A1}" srcId="{F62504D6-910A-4620-B55B-07B55ED23D21}" destId="{708E8CD6-D870-440B-AB89-D50BA143006C}" srcOrd="11" destOrd="0" parTransId="{AFE8D738-E199-4F54-9844-C44189851D01}" sibTransId="{A61B8F26-1D62-403A-A262-EA9BEB9A66CB}"/>
    <dgm:cxn modelId="{4F045E39-5392-4B59-82D7-25C2597825C0}" type="presOf" srcId="{B4A48339-F400-4B15-9138-84FB691D530B}" destId="{CA1DFCF4-AADC-4393-A607-4C6E0B94F96F}" srcOrd="0" destOrd="0" presId="urn:microsoft.com/office/officeart/2005/8/layout/radial4"/>
    <dgm:cxn modelId="{53AEEDE6-67C9-45AD-8671-3AC2D06EE05B}" type="presOf" srcId="{1DD3BF9F-EB85-4362-A029-4B1A93EC95A5}" destId="{645750A7-6DB1-4373-901A-9698D6DE9B98}" srcOrd="0" destOrd="0" presId="urn:microsoft.com/office/officeart/2005/8/layout/radial4"/>
    <dgm:cxn modelId="{F52C5C43-7BCB-4E44-BA13-7C385AB1CCCF}" srcId="{F62504D6-910A-4620-B55B-07B55ED23D21}" destId="{6B63D797-9D26-42D8-958F-488F17094B3D}" srcOrd="9" destOrd="0" parTransId="{02CE3CEC-4F1F-4E6D-9A59-9CFE3A8E366F}" sibTransId="{309B8C81-5C8D-4CF3-9C87-522764CC2561}"/>
    <dgm:cxn modelId="{9AC379F5-5CCD-401A-98BF-794C1D1E7F4A}" type="presOf" srcId="{AB155CD8-66C0-4C79-8B3D-466D530B90C4}" destId="{ABCDB095-3F46-4225-8F97-FB1A17018B8A}" srcOrd="0" destOrd="0" presId="urn:microsoft.com/office/officeart/2005/8/layout/radial4"/>
    <dgm:cxn modelId="{68D0DBDD-CF84-46C8-B5F9-2C0070DA3230}" type="presOf" srcId="{084B2933-3914-456F-8A96-64CFAF925006}" destId="{0EA9FB83-46CE-497E-BDB5-9B5D2CB10D50}" srcOrd="0" destOrd="0" presId="urn:microsoft.com/office/officeart/2005/8/layout/radial4"/>
    <dgm:cxn modelId="{DDD69A40-F126-4AEE-93FE-B13320A23293}" type="presOf" srcId="{CB38DE4B-EE7A-46D4-9399-207E826D51AD}" destId="{5D16F32C-3D0F-4CD6-8CE9-3309450CC3BB}" srcOrd="0" destOrd="0" presId="urn:microsoft.com/office/officeart/2005/8/layout/radial4"/>
    <dgm:cxn modelId="{399F66EA-A679-4EEA-BD37-C9D9494C3806}" type="presOf" srcId="{144407A9-6361-4383-A635-429D9A46635B}" destId="{F398D776-0E80-4590-B662-EF6C75A36390}" srcOrd="0" destOrd="0" presId="urn:microsoft.com/office/officeart/2005/8/layout/radial4"/>
    <dgm:cxn modelId="{CDBAED83-DD15-4776-B8E3-740086349DB0}" srcId="{F62504D6-910A-4620-B55B-07B55ED23D21}" destId="{3992CA06-ED89-4E28-90E9-099696539AC0}" srcOrd="5" destOrd="0" parTransId="{A8390B21-B90D-428B-AAD8-92A9F3DE1C82}" sibTransId="{066D1C07-EA8D-441A-86C5-F736C4A34D9E}"/>
    <dgm:cxn modelId="{F6F04F11-87AA-4F21-A5A6-7A78FD9DC1A1}" type="presOf" srcId="{CE8D5F54-5169-444F-9FD8-0DA37785F11E}" destId="{EDA54F85-9B70-4E20-B025-334671D87195}" srcOrd="0" destOrd="0" presId="urn:microsoft.com/office/officeart/2005/8/layout/radial4"/>
    <dgm:cxn modelId="{883986BB-793A-4D32-B4F2-93990200E889}" srcId="{144407A9-6361-4383-A635-429D9A46635B}" destId="{F62504D6-910A-4620-B55B-07B55ED23D21}" srcOrd="0" destOrd="0" parTransId="{E5C335BD-06DB-42AD-96A6-C49308126AD3}" sibTransId="{9F566D13-8779-4AA0-9A44-27941C603820}"/>
    <dgm:cxn modelId="{562E570D-77D6-490C-BC0E-F645B5894509}" srcId="{F62504D6-910A-4620-B55B-07B55ED23D21}" destId="{CE8D5F54-5169-444F-9FD8-0DA37785F11E}" srcOrd="13" destOrd="0" parTransId="{95A51294-4733-46AE-BB3B-8151B8AF95C5}" sibTransId="{F1A3D2C0-A63D-4052-A9FE-D5CE7F40F007}"/>
    <dgm:cxn modelId="{0A7239A9-0ACB-4801-9C46-01EBDE3E98CF}" type="presParOf" srcId="{F398D776-0E80-4590-B662-EF6C75A36390}" destId="{BEB497D1-9D83-4113-8974-E176AE1B214B}" srcOrd="0" destOrd="0" presId="urn:microsoft.com/office/officeart/2005/8/layout/radial4"/>
    <dgm:cxn modelId="{A2FF7C1A-55F3-4FBE-A5D1-96C1EB3CD43B}" type="presParOf" srcId="{F398D776-0E80-4590-B662-EF6C75A36390}" destId="{5D16F32C-3D0F-4CD6-8CE9-3309450CC3BB}" srcOrd="1" destOrd="0" presId="urn:microsoft.com/office/officeart/2005/8/layout/radial4"/>
    <dgm:cxn modelId="{C42E89A3-AEE2-4BBD-85CF-1F2EEDD31399}" type="presParOf" srcId="{F398D776-0E80-4590-B662-EF6C75A36390}" destId="{420257F1-7F09-4DE3-A126-04EFCC8484AF}" srcOrd="2" destOrd="0" presId="urn:microsoft.com/office/officeart/2005/8/layout/radial4"/>
    <dgm:cxn modelId="{4D5EC559-562D-47D4-9F0F-E3E2E01380CE}" type="presParOf" srcId="{F398D776-0E80-4590-B662-EF6C75A36390}" destId="{3163A418-C1B7-445D-92B9-BF2CBADC3EE2}" srcOrd="3" destOrd="0" presId="urn:microsoft.com/office/officeart/2005/8/layout/radial4"/>
    <dgm:cxn modelId="{D3E98D75-265F-492E-A598-403C4788AA8E}" type="presParOf" srcId="{F398D776-0E80-4590-B662-EF6C75A36390}" destId="{EA019AC4-D537-42BF-AA70-F3A4E0377A61}" srcOrd="4" destOrd="0" presId="urn:microsoft.com/office/officeart/2005/8/layout/radial4"/>
    <dgm:cxn modelId="{B20047E8-C5DE-47D5-A970-D22098D09DA3}" type="presParOf" srcId="{F398D776-0E80-4590-B662-EF6C75A36390}" destId="{16CE9899-C476-4F2C-A261-BEAEBC571B9C}" srcOrd="5" destOrd="0" presId="urn:microsoft.com/office/officeart/2005/8/layout/radial4"/>
    <dgm:cxn modelId="{ADD0B0F7-FB3B-4E48-8B3C-4F609ECDB73C}" type="presParOf" srcId="{F398D776-0E80-4590-B662-EF6C75A36390}" destId="{A0BBC57A-2454-4A4D-9EE0-A1F52550D274}" srcOrd="6" destOrd="0" presId="urn:microsoft.com/office/officeart/2005/8/layout/radial4"/>
    <dgm:cxn modelId="{1B85EB55-42E4-424F-9EE3-DB1CF09F25EE}" type="presParOf" srcId="{F398D776-0E80-4590-B662-EF6C75A36390}" destId="{ACBE14B9-9713-4993-871C-92DF566CA285}" srcOrd="7" destOrd="0" presId="urn:microsoft.com/office/officeart/2005/8/layout/radial4"/>
    <dgm:cxn modelId="{678A280A-CDBB-4244-9772-6E8EEEBA1EDD}" type="presParOf" srcId="{F398D776-0E80-4590-B662-EF6C75A36390}" destId="{C1A5EF30-E723-4135-913F-9D4BDE23BBE6}" srcOrd="8" destOrd="0" presId="urn:microsoft.com/office/officeart/2005/8/layout/radial4"/>
    <dgm:cxn modelId="{227983C9-5EDC-469B-A86F-FB0EF770B78E}" type="presParOf" srcId="{F398D776-0E80-4590-B662-EF6C75A36390}" destId="{A23A16A7-0890-4BF4-997C-007D0FE48636}" srcOrd="9" destOrd="0" presId="urn:microsoft.com/office/officeart/2005/8/layout/radial4"/>
    <dgm:cxn modelId="{2F049A75-5D48-4B5E-8158-13BDECE5F207}" type="presParOf" srcId="{F398D776-0E80-4590-B662-EF6C75A36390}" destId="{033A1780-0A86-47D9-8D86-5F739070CD0C}" srcOrd="10" destOrd="0" presId="urn:microsoft.com/office/officeart/2005/8/layout/radial4"/>
    <dgm:cxn modelId="{9284D590-EA01-4A20-BE2D-97B45EB13A68}" type="presParOf" srcId="{F398D776-0E80-4590-B662-EF6C75A36390}" destId="{FB2029E2-6EE8-4197-8C3E-499768ACF46F}" srcOrd="11" destOrd="0" presId="urn:microsoft.com/office/officeart/2005/8/layout/radial4"/>
    <dgm:cxn modelId="{30A8CA66-F7AC-4B60-A6A1-F2EB64A6D3EA}" type="presParOf" srcId="{F398D776-0E80-4590-B662-EF6C75A36390}" destId="{D8444B85-18F2-42A8-839E-E02ED5730B30}" srcOrd="12" destOrd="0" presId="urn:microsoft.com/office/officeart/2005/8/layout/radial4"/>
    <dgm:cxn modelId="{19C2ED1E-38B3-41C5-9BDF-712D36331CCD}" type="presParOf" srcId="{F398D776-0E80-4590-B662-EF6C75A36390}" destId="{0F352CFA-C374-456B-B8DC-1F4A79BED577}" srcOrd="13" destOrd="0" presId="urn:microsoft.com/office/officeart/2005/8/layout/radial4"/>
    <dgm:cxn modelId="{5E17E224-C7A0-4026-A5C0-70392BF04D7C}" type="presParOf" srcId="{F398D776-0E80-4590-B662-EF6C75A36390}" destId="{0EA9FB83-46CE-497E-BDB5-9B5D2CB10D50}" srcOrd="14" destOrd="0" presId="urn:microsoft.com/office/officeart/2005/8/layout/radial4"/>
    <dgm:cxn modelId="{6B31740F-344A-448B-89FF-6D25EAEC020F}" type="presParOf" srcId="{F398D776-0E80-4590-B662-EF6C75A36390}" destId="{B01F5705-EFD9-4B0A-B69F-AFD380812827}" srcOrd="15" destOrd="0" presId="urn:microsoft.com/office/officeart/2005/8/layout/radial4"/>
    <dgm:cxn modelId="{180407CF-EF57-4763-BB17-EC53227ED107}" type="presParOf" srcId="{F398D776-0E80-4590-B662-EF6C75A36390}" destId="{2419532F-BEF7-40FE-A6F2-16654EFC3CA3}" srcOrd="16" destOrd="0" presId="urn:microsoft.com/office/officeart/2005/8/layout/radial4"/>
    <dgm:cxn modelId="{8D749BFD-1020-4345-BD75-66C44086C00C}" type="presParOf" srcId="{F398D776-0E80-4590-B662-EF6C75A36390}" destId="{D2DDC060-7778-4561-9B9C-CEAB925D6192}" srcOrd="17" destOrd="0" presId="urn:microsoft.com/office/officeart/2005/8/layout/radial4"/>
    <dgm:cxn modelId="{51296A99-3300-4836-B8AF-95979FBD44AE}" type="presParOf" srcId="{F398D776-0E80-4590-B662-EF6C75A36390}" destId="{645750A7-6DB1-4373-901A-9698D6DE9B98}" srcOrd="18" destOrd="0" presId="urn:microsoft.com/office/officeart/2005/8/layout/radial4"/>
    <dgm:cxn modelId="{4A852563-0E62-47AC-BBDA-F145D8CBC834}" type="presParOf" srcId="{F398D776-0E80-4590-B662-EF6C75A36390}" destId="{C0A28A47-E029-4976-A601-FCCEA28B41D9}" srcOrd="19" destOrd="0" presId="urn:microsoft.com/office/officeart/2005/8/layout/radial4"/>
    <dgm:cxn modelId="{4A656E9E-0B11-4689-85D2-D49750228B8B}" type="presParOf" srcId="{F398D776-0E80-4590-B662-EF6C75A36390}" destId="{ECCB55ED-DDA2-4B64-B156-4B3D3C335C73}" srcOrd="20" destOrd="0" presId="urn:microsoft.com/office/officeart/2005/8/layout/radial4"/>
    <dgm:cxn modelId="{724C15C0-56FE-47AD-8081-4DA81A11183E}" type="presParOf" srcId="{F398D776-0E80-4590-B662-EF6C75A36390}" destId="{CFDEDDF7-0D90-4EA6-9E99-2858008568AB}" srcOrd="21" destOrd="0" presId="urn:microsoft.com/office/officeart/2005/8/layout/radial4"/>
    <dgm:cxn modelId="{2B288A7C-85F8-4763-80E0-3C1F14D20AAD}" type="presParOf" srcId="{F398D776-0E80-4590-B662-EF6C75A36390}" destId="{ABCDB095-3F46-4225-8F97-FB1A17018B8A}" srcOrd="22" destOrd="0" presId="urn:microsoft.com/office/officeart/2005/8/layout/radial4"/>
    <dgm:cxn modelId="{C131DE06-D6C8-4939-B96C-F9EAA88FA984}" type="presParOf" srcId="{F398D776-0E80-4590-B662-EF6C75A36390}" destId="{1B437D76-F834-4B73-9B97-A8F12DC9E0C9}" srcOrd="23" destOrd="0" presId="urn:microsoft.com/office/officeart/2005/8/layout/radial4"/>
    <dgm:cxn modelId="{36AF2493-7442-4999-938F-526203C0ADE3}" type="presParOf" srcId="{F398D776-0E80-4590-B662-EF6C75A36390}" destId="{97D77E31-7ECF-4BC9-8C7C-76F5BFB4031F}" srcOrd="24" destOrd="0" presId="urn:microsoft.com/office/officeart/2005/8/layout/radial4"/>
    <dgm:cxn modelId="{59164D84-FCC4-4F9A-9AD8-A1D978E510FC}" type="presParOf" srcId="{F398D776-0E80-4590-B662-EF6C75A36390}" destId="{CA1DFCF4-AADC-4393-A607-4C6E0B94F96F}" srcOrd="25" destOrd="0" presId="urn:microsoft.com/office/officeart/2005/8/layout/radial4"/>
    <dgm:cxn modelId="{B1CE45A9-C864-4646-8583-A07050CD25DF}" type="presParOf" srcId="{F398D776-0E80-4590-B662-EF6C75A36390}" destId="{30D9F5C1-7019-4B9C-BFBC-4FD72597A21F}" srcOrd="26" destOrd="0" presId="urn:microsoft.com/office/officeart/2005/8/layout/radial4"/>
    <dgm:cxn modelId="{87D6D424-41A1-4D6A-A26D-C7E3D1E40FE0}" type="presParOf" srcId="{F398D776-0E80-4590-B662-EF6C75A36390}" destId="{631DA979-B2A3-4CC2-85D2-A0FECD543CB9}" srcOrd="27" destOrd="0" presId="urn:microsoft.com/office/officeart/2005/8/layout/radial4"/>
    <dgm:cxn modelId="{DDCB7392-1E76-414F-93B6-7A395D35F6D1}" type="presParOf" srcId="{F398D776-0E80-4590-B662-EF6C75A36390}" destId="{EDA54F85-9B70-4E20-B025-334671D87195}" srcOrd="28"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72A69D-3258-4A05-84AF-1B3B43C423D7}">
      <dsp:nvSpPr>
        <dsp:cNvPr id="0" name=""/>
        <dsp:cNvSpPr/>
      </dsp:nvSpPr>
      <dsp:spPr>
        <a:xfrm>
          <a:off x="6963" y="458617"/>
          <a:ext cx="2332953" cy="12459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lvl="0" algn="l" defTabSz="444500">
            <a:lnSpc>
              <a:spcPct val="90000"/>
            </a:lnSpc>
            <a:spcBef>
              <a:spcPct val="0"/>
            </a:spcBef>
            <a:spcAft>
              <a:spcPct val="35000"/>
            </a:spcAft>
          </a:pPr>
          <a:r>
            <a:rPr lang="sv-SE" sz="1000" kern="1200" dirty="0"/>
            <a:t>Steg 1 (höst 2022): Omvärldsbevakning samt en fokusgrupp i november</a:t>
          </a:r>
        </a:p>
      </dsp:txBody>
      <dsp:txXfrm>
        <a:off x="6963" y="458617"/>
        <a:ext cx="2332953" cy="830643"/>
      </dsp:txXfrm>
    </dsp:sp>
    <dsp:sp modelId="{F3339C20-3B7B-45B1-832E-0B8EF0604C2C}">
      <dsp:nvSpPr>
        <dsp:cNvPr id="0" name=""/>
        <dsp:cNvSpPr/>
      </dsp:nvSpPr>
      <dsp:spPr>
        <a:xfrm>
          <a:off x="466618" y="1095004"/>
          <a:ext cx="2138389" cy="115581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sv-SE" sz="1000" kern="1200" dirty="0"/>
            <a:t>Fokusgrupp med socialchefer</a:t>
          </a:r>
          <a:endParaRPr lang="sv-SE" sz="1000" b="1" kern="1200" dirty="0"/>
        </a:p>
        <a:p>
          <a:pPr marL="57150" lvl="1" indent="-57150" algn="l" defTabSz="444500">
            <a:lnSpc>
              <a:spcPct val="90000"/>
            </a:lnSpc>
            <a:spcBef>
              <a:spcPct val="0"/>
            </a:spcBef>
            <a:spcAft>
              <a:spcPct val="15000"/>
            </a:spcAft>
            <a:buChar char="••"/>
          </a:pPr>
          <a:r>
            <a:rPr lang="sv-SE" sz="1000" kern="1200" dirty="0"/>
            <a:t>Syfte: hitta ”problemområden”</a:t>
          </a:r>
          <a:endParaRPr lang="sv-SE" sz="1000" b="1" kern="1200" dirty="0"/>
        </a:p>
        <a:p>
          <a:pPr marL="57150" lvl="1" indent="-57150" algn="l" defTabSz="444500">
            <a:lnSpc>
              <a:spcPct val="90000"/>
            </a:lnSpc>
            <a:spcBef>
              <a:spcPct val="0"/>
            </a:spcBef>
            <a:spcAft>
              <a:spcPct val="15000"/>
            </a:spcAft>
            <a:buChar char="••"/>
          </a:pPr>
          <a:r>
            <a:rPr lang="sv-SE" sz="1000" kern="1200" dirty="0"/>
            <a:t>Leda till rätt frågeställningar i den kommande undersökningen</a:t>
          </a:r>
        </a:p>
        <a:p>
          <a:pPr marL="57150" lvl="1" indent="-57150" algn="l" defTabSz="444500">
            <a:lnSpc>
              <a:spcPct val="90000"/>
            </a:lnSpc>
            <a:spcBef>
              <a:spcPct val="0"/>
            </a:spcBef>
            <a:spcAft>
              <a:spcPct val="15000"/>
            </a:spcAft>
            <a:buChar char="••"/>
          </a:pPr>
          <a:r>
            <a:rPr lang="sv-SE" sz="1000" kern="1200" dirty="0"/>
            <a:t>Omvärldsbevaka</a:t>
          </a:r>
        </a:p>
      </dsp:txBody>
      <dsp:txXfrm>
        <a:off x="500471" y="1128857"/>
        <a:ext cx="2070683" cy="1088113"/>
      </dsp:txXfrm>
    </dsp:sp>
    <dsp:sp modelId="{BFD2CF9F-A501-4E9A-BD3D-972616DE698F}">
      <dsp:nvSpPr>
        <dsp:cNvPr id="0" name=""/>
        <dsp:cNvSpPr/>
      </dsp:nvSpPr>
      <dsp:spPr>
        <a:xfrm rot="77725">
          <a:off x="2650233" y="646644"/>
          <a:ext cx="658219" cy="536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sv-SE" sz="800" kern="1200" dirty="0"/>
        </a:p>
      </dsp:txBody>
      <dsp:txXfrm>
        <a:off x="2650254" y="752078"/>
        <a:ext cx="497340" cy="321757"/>
      </dsp:txXfrm>
    </dsp:sp>
    <dsp:sp modelId="{249F6796-9C2B-4B3A-91C0-6281D7E4624C}">
      <dsp:nvSpPr>
        <dsp:cNvPr id="0" name=""/>
        <dsp:cNvSpPr/>
      </dsp:nvSpPr>
      <dsp:spPr>
        <a:xfrm>
          <a:off x="3581522" y="537424"/>
          <a:ext cx="2153919" cy="12459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lvl="0" algn="l" defTabSz="444500">
            <a:lnSpc>
              <a:spcPct val="90000"/>
            </a:lnSpc>
            <a:spcBef>
              <a:spcPct val="0"/>
            </a:spcBef>
            <a:spcAft>
              <a:spcPct val="35000"/>
            </a:spcAft>
          </a:pPr>
          <a:r>
            <a:rPr lang="sv-SE" sz="1000" kern="1200" dirty="0"/>
            <a:t>Steg 2 (vår 2023): Fokusgrupper, sammanställ resultat och förankring</a:t>
          </a:r>
        </a:p>
      </dsp:txBody>
      <dsp:txXfrm>
        <a:off x="3581522" y="537424"/>
        <a:ext cx="2153919" cy="830643"/>
      </dsp:txXfrm>
    </dsp:sp>
    <dsp:sp modelId="{84535F99-4F15-4790-9FA6-E6424AF426AD}">
      <dsp:nvSpPr>
        <dsp:cNvPr id="0" name=""/>
        <dsp:cNvSpPr/>
      </dsp:nvSpPr>
      <dsp:spPr>
        <a:xfrm>
          <a:off x="3828521" y="1069722"/>
          <a:ext cx="2145238" cy="176933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sv-SE" sz="1000" kern="1200" dirty="0"/>
            <a:t>Fokusgrupper med första linjen chefer i februari-mars</a:t>
          </a:r>
        </a:p>
        <a:p>
          <a:pPr marL="57150" lvl="1" indent="-57150" algn="l" defTabSz="444500">
            <a:lnSpc>
              <a:spcPct val="90000"/>
            </a:lnSpc>
            <a:spcBef>
              <a:spcPct val="0"/>
            </a:spcBef>
            <a:spcAft>
              <a:spcPct val="15000"/>
            </a:spcAft>
            <a:buChar char="••"/>
          </a:pPr>
          <a:r>
            <a:rPr lang="sv-SE" sz="1000" kern="1200" dirty="0"/>
            <a:t>Sammanställ resultat från fokusgrupper</a:t>
          </a:r>
        </a:p>
        <a:p>
          <a:pPr marL="57150" lvl="1" indent="-57150" algn="l" defTabSz="444500">
            <a:lnSpc>
              <a:spcPct val="90000"/>
            </a:lnSpc>
            <a:spcBef>
              <a:spcPct val="0"/>
            </a:spcBef>
            <a:spcAft>
              <a:spcPct val="15000"/>
            </a:spcAft>
            <a:buFont typeface="Arial" panose="020B0604020202020204" pitchFamily="34" charset="0"/>
            <a:buChar char="••"/>
          </a:pPr>
          <a:r>
            <a:rPr lang="sv-SE" sz="1000" kern="1200" dirty="0"/>
            <a:t>Presentera resultaten från fokusgrupperna med olika interna nätverk för att systematiskt stämma av resultaten</a:t>
          </a:r>
        </a:p>
        <a:p>
          <a:pPr marL="57150" lvl="1" indent="-57150" algn="l" defTabSz="444500">
            <a:lnSpc>
              <a:spcPct val="90000"/>
            </a:lnSpc>
            <a:spcBef>
              <a:spcPct val="0"/>
            </a:spcBef>
            <a:spcAft>
              <a:spcPct val="15000"/>
            </a:spcAft>
            <a:buFont typeface="Arial" panose="020B0604020202020204" pitchFamily="34" charset="0"/>
            <a:buChar char="••"/>
          </a:pPr>
          <a:r>
            <a:rPr lang="sv-SE" sz="1000" kern="1200" dirty="0"/>
            <a:t>Dialog med externa aktörer (FSSOC, SSR m fl)</a:t>
          </a:r>
        </a:p>
      </dsp:txBody>
      <dsp:txXfrm>
        <a:off x="3880343" y="1121544"/>
        <a:ext cx="2041594" cy="1665687"/>
      </dsp:txXfrm>
    </dsp:sp>
    <dsp:sp modelId="{781490B4-706D-4344-BAF1-E5CB5B5A78AF}">
      <dsp:nvSpPr>
        <dsp:cNvPr id="0" name=""/>
        <dsp:cNvSpPr/>
      </dsp:nvSpPr>
      <dsp:spPr>
        <a:xfrm rot="21568598">
          <a:off x="6071449" y="668454"/>
          <a:ext cx="712397" cy="536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sv-SE" sz="800" kern="1200" dirty="0"/>
        </a:p>
      </dsp:txBody>
      <dsp:txXfrm>
        <a:off x="6071452" y="776442"/>
        <a:ext cx="551518" cy="321757"/>
      </dsp:txXfrm>
    </dsp:sp>
    <dsp:sp modelId="{2924703E-F430-4A3F-AE93-6A380B2BF6A0}">
      <dsp:nvSpPr>
        <dsp:cNvPr id="0" name=""/>
        <dsp:cNvSpPr/>
      </dsp:nvSpPr>
      <dsp:spPr>
        <a:xfrm>
          <a:off x="7079531" y="505471"/>
          <a:ext cx="2153919" cy="12459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lvl="0" algn="l" defTabSz="444500">
            <a:lnSpc>
              <a:spcPct val="90000"/>
            </a:lnSpc>
            <a:spcBef>
              <a:spcPct val="0"/>
            </a:spcBef>
            <a:spcAft>
              <a:spcPct val="35000"/>
            </a:spcAft>
          </a:pPr>
          <a:r>
            <a:rPr lang="sv-SE" sz="1000" kern="1200" dirty="0"/>
            <a:t>Steg 3 (sommar/höst 2023) Säkerställa resultat, fortsatt förankring och sammanställa resultat </a:t>
          </a:r>
        </a:p>
      </dsp:txBody>
      <dsp:txXfrm>
        <a:off x="7079531" y="505471"/>
        <a:ext cx="2153919" cy="830643"/>
      </dsp:txXfrm>
    </dsp:sp>
    <dsp:sp modelId="{3BD10A37-765E-4917-B72B-805B948D1B76}">
      <dsp:nvSpPr>
        <dsp:cNvPr id="0" name=""/>
        <dsp:cNvSpPr/>
      </dsp:nvSpPr>
      <dsp:spPr>
        <a:xfrm>
          <a:off x="7448291" y="1239856"/>
          <a:ext cx="2162427" cy="164989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000" kern="1200" dirty="0"/>
            <a:t> Fortsatt förankring och dialog: Vad vill SKR göra med resultatet? Kan vi göra någonting tillsammans med externa aktörer?</a:t>
          </a:r>
          <a:endParaRPr lang="sv-SE" sz="1000" kern="1200" dirty="0">
            <a:highlight>
              <a:srgbClr val="FFFF00"/>
            </a:highlight>
          </a:endParaRP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000" kern="1200" dirty="0"/>
            <a:t> Färdigställa rapport</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000" kern="1200" dirty="0"/>
            <a:t> Förankra med beredningar och AU</a:t>
          </a:r>
        </a:p>
        <a:p>
          <a:pPr marL="0" marR="0" lvl="0" indent="0" algn="l"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sv-SE" sz="1000" kern="1200" dirty="0"/>
            <a:t> Slutsatser från arbetet ska ligga till grund för påverkansarbete</a:t>
          </a:r>
        </a:p>
      </dsp:txBody>
      <dsp:txXfrm>
        <a:off x="7496615" y="1288180"/>
        <a:ext cx="2065779" cy="15532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ED5477-3D8B-4F15-AB65-FE951A50BDCF}">
      <dsp:nvSpPr>
        <dsp:cNvPr id="0" name=""/>
        <dsp:cNvSpPr/>
      </dsp:nvSpPr>
      <dsp:spPr>
        <a:xfrm>
          <a:off x="0" y="478927"/>
          <a:ext cx="9926617" cy="63857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B1F696-AD73-4458-AA20-148E0E9EC4FA}">
      <dsp:nvSpPr>
        <dsp:cNvPr id="0" name=""/>
        <dsp:cNvSpPr/>
      </dsp:nvSpPr>
      <dsp:spPr>
        <a:xfrm>
          <a:off x="3926" y="0"/>
          <a:ext cx="1716558" cy="638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r>
            <a:rPr lang="sv-SE" sz="1200" kern="1200" dirty="0">
              <a:solidFill>
                <a:schemeClr val="tx1"/>
              </a:solidFill>
            </a:rPr>
            <a:t>15 september Socialchefsnätverket</a:t>
          </a:r>
        </a:p>
      </dsp:txBody>
      <dsp:txXfrm>
        <a:off x="3926" y="0"/>
        <a:ext cx="1716558" cy="638570"/>
      </dsp:txXfrm>
    </dsp:sp>
    <dsp:sp modelId="{FCBB61B9-B243-4C71-A3E5-A5EAF65B75A7}">
      <dsp:nvSpPr>
        <dsp:cNvPr id="0" name=""/>
        <dsp:cNvSpPr/>
      </dsp:nvSpPr>
      <dsp:spPr>
        <a:xfrm>
          <a:off x="782383" y="718391"/>
          <a:ext cx="159642" cy="15964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C35CCA-A768-4469-8881-894FD827AB81}">
      <dsp:nvSpPr>
        <dsp:cNvPr id="0" name=""/>
        <dsp:cNvSpPr/>
      </dsp:nvSpPr>
      <dsp:spPr>
        <a:xfrm>
          <a:off x="1806312" y="957855"/>
          <a:ext cx="1716558" cy="638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r>
            <a:rPr lang="sv-SE" sz="1200" kern="1200" dirty="0"/>
            <a:t>5 oktober</a:t>
          </a:r>
        </a:p>
        <a:p>
          <a:pPr lvl="0" algn="ctr" defTabSz="533400">
            <a:lnSpc>
              <a:spcPct val="90000"/>
            </a:lnSpc>
            <a:spcBef>
              <a:spcPct val="0"/>
            </a:spcBef>
            <a:spcAft>
              <a:spcPct val="35000"/>
            </a:spcAft>
          </a:pPr>
          <a:r>
            <a:rPr lang="sv-SE" sz="1200" kern="1200" dirty="0"/>
            <a:t>RSS och NSK-S</a:t>
          </a:r>
          <a:endParaRPr lang="sv-SE" sz="1200" kern="1200" dirty="0">
            <a:solidFill>
              <a:schemeClr val="bg1">
                <a:lumMod val="65000"/>
              </a:schemeClr>
            </a:solidFill>
          </a:endParaRPr>
        </a:p>
      </dsp:txBody>
      <dsp:txXfrm>
        <a:off x="1806312" y="957855"/>
        <a:ext cx="1716558" cy="638570"/>
      </dsp:txXfrm>
    </dsp:sp>
    <dsp:sp modelId="{BC18A0D8-6BF6-49FA-BA6A-97EFEEABD781}">
      <dsp:nvSpPr>
        <dsp:cNvPr id="0" name=""/>
        <dsp:cNvSpPr/>
      </dsp:nvSpPr>
      <dsp:spPr>
        <a:xfrm>
          <a:off x="2584770" y="718391"/>
          <a:ext cx="159642" cy="15964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70F41A-1DE7-4338-88EF-B87ED6AA1582}">
      <dsp:nvSpPr>
        <dsp:cNvPr id="0" name=""/>
        <dsp:cNvSpPr/>
      </dsp:nvSpPr>
      <dsp:spPr>
        <a:xfrm>
          <a:off x="3608698" y="0"/>
          <a:ext cx="1716558" cy="638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r>
            <a:rPr lang="sv-SE" sz="1200" kern="1200" dirty="0">
              <a:solidFill>
                <a:schemeClr val="tx1"/>
              </a:solidFill>
            </a:rPr>
            <a:t>7  november – utkast  rapport ledningsgrupp </a:t>
          </a:r>
        </a:p>
      </dsp:txBody>
      <dsp:txXfrm>
        <a:off x="3608698" y="0"/>
        <a:ext cx="1716558" cy="638570"/>
      </dsp:txXfrm>
    </dsp:sp>
    <dsp:sp modelId="{B779CFB0-9700-4764-895A-C3138EAE7F82}">
      <dsp:nvSpPr>
        <dsp:cNvPr id="0" name=""/>
        <dsp:cNvSpPr/>
      </dsp:nvSpPr>
      <dsp:spPr>
        <a:xfrm>
          <a:off x="4387156" y="718391"/>
          <a:ext cx="159642" cy="15964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F866FC-33D8-47CB-A84A-5E92AFC344EF}">
      <dsp:nvSpPr>
        <dsp:cNvPr id="0" name=""/>
        <dsp:cNvSpPr/>
      </dsp:nvSpPr>
      <dsp:spPr>
        <a:xfrm>
          <a:off x="5411084" y="957855"/>
          <a:ext cx="1716558" cy="638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r>
            <a:rPr lang="sv-SE" sz="1200" kern="1200" dirty="0"/>
            <a:t>30 november -rapport klar</a:t>
          </a:r>
        </a:p>
      </dsp:txBody>
      <dsp:txXfrm>
        <a:off x="5411084" y="957855"/>
        <a:ext cx="1716558" cy="638570"/>
      </dsp:txXfrm>
    </dsp:sp>
    <dsp:sp modelId="{C6417F3D-C956-4EE0-BA29-3A8949CB558D}">
      <dsp:nvSpPr>
        <dsp:cNvPr id="0" name=""/>
        <dsp:cNvSpPr/>
      </dsp:nvSpPr>
      <dsp:spPr>
        <a:xfrm>
          <a:off x="6189542" y="718391"/>
          <a:ext cx="159642" cy="15964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C1B318-4C05-4071-BCAC-BC26B4A09200}">
      <dsp:nvSpPr>
        <dsp:cNvPr id="0" name=""/>
        <dsp:cNvSpPr/>
      </dsp:nvSpPr>
      <dsp:spPr>
        <a:xfrm>
          <a:off x="7213470" y="0"/>
          <a:ext cx="1716558" cy="638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r>
            <a:rPr lang="sv-SE" sz="1200" kern="1200" dirty="0"/>
            <a:t>14 december beredningar</a:t>
          </a:r>
        </a:p>
      </dsp:txBody>
      <dsp:txXfrm>
        <a:off x="7213470" y="0"/>
        <a:ext cx="1716558" cy="638570"/>
      </dsp:txXfrm>
    </dsp:sp>
    <dsp:sp modelId="{C4AB2D82-55CE-4C59-A406-C3BF3E6DF669}">
      <dsp:nvSpPr>
        <dsp:cNvPr id="0" name=""/>
        <dsp:cNvSpPr/>
      </dsp:nvSpPr>
      <dsp:spPr>
        <a:xfrm>
          <a:off x="7991928" y="718391"/>
          <a:ext cx="159642" cy="15964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DED20D-33A0-4F66-86EB-8FC42693DA52}">
      <dsp:nvSpPr>
        <dsp:cNvPr id="0" name=""/>
        <dsp:cNvSpPr/>
      </dsp:nvSpPr>
      <dsp:spPr>
        <a:xfrm>
          <a:off x="369290" y="414"/>
          <a:ext cx="2063645" cy="1238187"/>
        </a:xfrm>
        <a:prstGeom prst="rect">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path path="circle">
            <a:fillToRect l="50000" t="50000" r="50000" b="50000"/>
          </a:path>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b="0" kern="1200" dirty="0">
              <a:latin typeface="+mn-lt"/>
            </a:rPr>
            <a:t>Mer verklighets- och verksamhetsförankring behövs!</a:t>
          </a:r>
        </a:p>
        <a:p>
          <a:pPr lvl="0" algn="ctr" defTabSz="622300">
            <a:lnSpc>
              <a:spcPct val="90000"/>
            </a:lnSpc>
            <a:spcBef>
              <a:spcPct val="0"/>
            </a:spcBef>
            <a:spcAft>
              <a:spcPct val="35000"/>
            </a:spcAft>
          </a:pPr>
          <a:r>
            <a:rPr lang="sv-SE" sz="1400" b="0" kern="1200" dirty="0">
              <a:latin typeface="+mn-lt"/>
            </a:rPr>
            <a:t>Varva teori med praktik! </a:t>
          </a:r>
        </a:p>
      </dsp:txBody>
      <dsp:txXfrm>
        <a:off x="369290" y="414"/>
        <a:ext cx="2063645" cy="1238187"/>
      </dsp:txXfrm>
    </dsp:sp>
    <dsp:sp modelId="{18BE26A7-79A1-47E0-A9B6-6E62B58DB708}">
      <dsp:nvSpPr>
        <dsp:cNvPr id="0" name=""/>
        <dsp:cNvSpPr/>
      </dsp:nvSpPr>
      <dsp:spPr>
        <a:xfrm>
          <a:off x="2641301" y="414"/>
          <a:ext cx="2063645" cy="1238187"/>
        </a:xfrm>
        <a:prstGeom prst="rect">
          <a:avLst/>
        </a:prstGeom>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Mer praktiska inslag: </a:t>
          </a:r>
          <a:r>
            <a:rPr lang="sv-SE" sz="1400" kern="1200" dirty="0" err="1">
              <a:latin typeface="+mn-lt"/>
            </a:rPr>
            <a:t>case</a:t>
          </a:r>
          <a:r>
            <a:rPr lang="sv-SE" sz="1400" kern="1200" dirty="0">
              <a:latin typeface="+mn-lt"/>
            </a:rPr>
            <a:t>, studiebesök hos AG, praktiker som </a:t>
          </a:r>
          <a:r>
            <a:rPr lang="sv-SE" sz="1400" b="0" kern="1200" dirty="0">
              <a:solidFill>
                <a:prstClr val="white"/>
              </a:solidFill>
              <a:latin typeface="Arial"/>
              <a:ea typeface="+mn-ea"/>
              <a:cs typeface="+mn-cs"/>
            </a:rPr>
            <a:t>föreläsare</a:t>
          </a:r>
        </a:p>
      </dsp:txBody>
      <dsp:txXfrm>
        <a:off x="2641301" y="414"/>
        <a:ext cx="2063645" cy="1238187"/>
      </dsp:txXfrm>
    </dsp:sp>
    <dsp:sp modelId="{1B1ACD17-8E04-43E4-86B4-82E8D652F2C1}">
      <dsp:nvSpPr>
        <dsp:cNvPr id="0" name=""/>
        <dsp:cNvSpPr/>
      </dsp:nvSpPr>
      <dsp:spPr>
        <a:xfrm>
          <a:off x="4926396" y="1452758"/>
          <a:ext cx="2063645" cy="12381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Mer om äldre, LSS, ekonomiskt bistånd, funktionsnedsättningar, skadligt bruk/beroende…</a:t>
          </a:r>
        </a:p>
      </dsp:txBody>
      <dsp:txXfrm>
        <a:off x="4926396" y="1452758"/>
        <a:ext cx="2063645" cy="1238187"/>
      </dsp:txXfrm>
    </dsp:sp>
    <dsp:sp modelId="{ABCC6FF8-27AF-4395-84DE-63337DED0B64}">
      <dsp:nvSpPr>
        <dsp:cNvPr id="0" name=""/>
        <dsp:cNvSpPr/>
      </dsp:nvSpPr>
      <dsp:spPr>
        <a:xfrm>
          <a:off x="4899631" y="0"/>
          <a:ext cx="2063645" cy="1238187"/>
        </a:xfrm>
        <a:prstGeom prst="rect">
          <a:avLst/>
        </a:prstGeom>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b="1" kern="1200" dirty="0">
              <a:latin typeface="+mn-lt"/>
            </a:rPr>
            <a:t>Mer VFU – </a:t>
          </a:r>
          <a:r>
            <a:rPr lang="sv-SE" sz="1400" b="0" kern="1200" dirty="0">
              <a:latin typeface="+mn-lt"/>
            </a:rPr>
            <a:t>helst två </a:t>
          </a:r>
          <a:r>
            <a:rPr lang="sv-SE" sz="1400" kern="1200" dirty="0">
              <a:latin typeface="+mn-lt"/>
            </a:rPr>
            <a:t>praktikterminer – här behövs mer likhet, en för  ”</a:t>
          </a:r>
          <a:r>
            <a:rPr lang="sv-SE" sz="1400" kern="1200" dirty="0">
              <a:solidFill>
                <a:prstClr val="white"/>
              </a:solidFill>
              <a:latin typeface="Arial"/>
              <a:ea typeface="+mn-ea"/>
              <a:cs typeface="+mn-cs"/>
            </a:rPr>
            <a:t>myndighet</a:t>
          </a:r>
          <a:r>
            <a:rPr lang="sv-SE" sz="1400" kern="1200" dirty="0">
              <a:latin typeface="+mn-lt"/>
            </a:rPr>
            <a:t>” och VFU ersättning</a:t>
          </a:r>
        </a:p>
      </dsp:txBody>
      <dsp:txXfrm>
        <a:off x="4899631" y="0"/>
        <a:ext cx="2063645" cy="1238187"/>
      </dsp:txXfrm>
    </dsp:sp>
    <dsp:sp modelId="{3B5C79B1-C264-41E3-8D4F-BC506480EAE3}">
      <dsp:nvSpPr>
        <dsp:cNvPr id="0" name=""/>
        <dsp:cNvSpPr/>
      </dsp:nvSpPr>
      <dsp:spPr>
        <a:xfrm>
          <a:off x="371291" y="1444965"/>
          <a:ext cx="2063645" cy="12381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a:latin typeface="+mn-lt"/>
            </a:rPr>
            <a:t>Bra med </a:t>
          </a:r>
          <a:r>
            <a:rPr lang="sv-SE" sz="1400" kern="1200">
              <a:latin typeface="+mn-lt"/>
              <a:ea typeface="+mn-ea"/>
              <a:cs typeface="+mn-cs"/>
            </a:rPr>
            <a:t>generalistutbildning</a:t>
          </a:r>
          <a:r>
            <a:rPr lang="sv-SE" sz="1400" kern="1200">
              <a:latin typeface="+mn-lt"/>
            </a:rPr>
            <a:t> men mer lika kursinnehåll oavsett lärosäte (och mer praktiskt innehåll)</a:t>
          </a:r>
          <a:endParaRPr lang="sv-SE" sz="1400" kern="1200" dirty="0">
            <a:latin typeface="+mn-lt"/>
          </a:endParaRPr>
        </a:p>
      </dsp:txBody>
      <dsp:txXfrm>
        <a:off x="371291" y="1444965"/>
        <a:ext cx="2063645" cy="1238187"/>
      </dsp:txXfrm>
    </dsp:sp>
    <dsp:sp modelId="{46B6748B-2D5E-4460-AD07-4AFD1773C156}">
      <dsp:nvSpPr>
        <dsp:cNvPr id="0" name=""/>
        <dsp:cNvSpPr/>
      </dsp:nvSpPr>
      <dsp:spPr>
        <a:xfrm>
          <a:off x="2641301" y="1444965"/>
          <a:ext cx="2063645" cy="12381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Mer om socialrätt, förvaltningsrätt och myndighetsutövning</a:t>
          </a:r>
        </a:p>
      </dsp:txBody>
      <dsp:txXfrm>
        <a:off x="2641301" y="1444965"/>
        <a:ext cx="2063645" cy="1238187"/>
      </dsp:txXfrm>
    </dsp:sp>
    <dsp:sp modelId="{E74BE5DA-E739-4FA6-92D3-C4FD0B60813A}">
      <dsp:nvSpPr>
        <dsp:cNvPr id="0" name=""/>
        <dsp:cNvSpPr/>
      </dsp:nvSpPr>
      <dsp:spPr>
        <a:xfrm>
          <a:off x="7183694" y="0"/>
          <a:ext cx="2063645" cy="12381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Mer </a:t>
          </a:r>
          <a:r>
            <a:rPr lang="sv-SE" sz="1400" b="0" i="0" kern="1200" dirty="0">
              <a:latin typeface="+mn-lt"/>
            </a:rPr>
            <a:t>praktisk färdighetsträning </a:t>
          </a:r>
          <a:r>
            <a:rPr lang="sv-SE" sz="1400" kern="1200" dirty="0">
              <a:latin typeface="+mn-lt"/>
            </a:rPr>
            <a:t>som samtalsmetodik (svåra samtal), bemötande, att hålla i möten, krishantering</a:t>
          </a:r>
        </a:p>
      </dsp:txBody>
      <dsp:txXfrm>
        <a:off x="7183694" y="0"/>
        <a:ext cx="2063645" cy="1238187"/>
      </dsp:txXfrm>
    </dsp:sp>
    <dsp:sp modelId="{1AB72950-B830-4026-9DFC-8D07816B36FC}">
      <dsp:nvSpPr>
        <dsp:cNvPr id="0" name=""/>
        <dsp:cNvSpPr/>
      </dsp:nvSpPr>
      <dsp:spPr>
        <a:xfrm>
          <a:off x="7181320" y="1444965"/>
          <a:ext cx="2063645" cy="12381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Personlig mognad, livs- och arbetslivserfarenhet är önskvärt – se över antagningsförandet</a:t>
          </a:r>
        </a:p>
      </dsp:txBody>
      <dsp:txXfrm>
        <a:off x="7181320" y="1444965"/>
        <a:ext cx="2063645" cy="1238187"/>
      </dsp:txXfrm>
    </dsp:sp>
    <dsp:sp modelId="{936C3829-DA01-42CC-8D8C-8D0434E3D17C}">
      <dsp:nvSpPr>
        <dsp:cNvPr id="0" name=""/>
        <dsp:cNvSpPr/>
      </dsp:nvSpPr>
      <dsp:spPr>
        <a:xfrm>
          <a:off x="371291" y="2889517"/>
          <a:ext cx="2063645" cy="1238187"/>
        </a:xfrm>
        <a:prstGeom prst="rect">
          <a:avLst/>
        </a:prstGeom>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Ökade </a:t>
          </a:r>
          <a:r>
            <a:rPr lang="sv-SE" sz="1400" b="0" kern="1200" dirty="0">
              <a:solidFill>
                <a:prstClr val="white"/>
              </a:solidFill>
              <a:latin typeface="Arial"/>
              <a:ea typeface="+mn-ea"/>
              <a:cs typeface="+mn-cs"/>
            </a:rPr>
            <a:t>färdigheter</a:t>
          </a:r>
          <a:r>
            <a:rPr lang="sv-SE" sz="1400" kern="1200" dirty="0">
              <a:latin typeface="+mn-lt"/>
            </a:rPr>
            <a:t> i att ta egna initiativ, utföra uppgifter, ta till sig information</a:t>
          </a:r>
        </a:p>
      </dsp:txBody>
      <dsp:txXfrm>
        <a:off x="371291" y="2889517"/>
        <a:ext cx="2063645" cy="1238187"/>
      </dsp:txXfrm>
    </dsp:sp>
    <dsp:sp modelId="{CC13A5C2-8B31-436A-9A64-6281EC6C1667}">
      <dsp:nvSpPr>
        <dsp:cNvPr id="0" name=""/>
        <dsp:cNvSpPr/>
      </dsp:nvSpPr>
      <dsp:spPr>
        <a:xfrm>
          <a:off x="2641301" y="2889517"/>
          <a:ext cx="2063645" cy="1238187"/>
        </a:xfrm>
        <a:prstGeom prst="rect">
          <a:avLst/>
        </a:prstGeom>
        <a:gradFill flip="none" rotWithShape="0">
          <a:gsLst>
            <a:gs pos="0">
              <a:srgbClr val="E6460A">
                <a:hueOff val="0"/>
                <a:satOff val="0"/>
                <a:lumOff val="0"/>
                <a:shade val="30000"/>
                <a:satMod val="115000"/>
              </a:srgbClr>
            </a:gs>
            <a:gs pos="50000">
              <a:srgbClr val="E6460A">
                <a:hueOff val="0"/>
                <a:satOff val="0"/>
                <a:lumOff val="0"/>
                <a:shade val="67500"/>
                <a:satMod val="115000"/>
              </a:srgbClr>
            </a:gs>
            <a:gs pos="100000">
              <a:srgbClr val="E6460A">
                <a:hueOff val="0"/>
                <a:satOff val="0"/>
                <a:lumOff val="0"/>
                <a:shade val="100000"/>
                <a:satMod val="115000"/>
              </a:srgbClr>
            </a:gs>
          </a:gsLst>
          <a:path path="circle">
            <a:fillToRect l="50000" t="50000" r="50000" b="50000"/>
          </a:path>
          <a:tileRect/>
        </a:gra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Stärka kunskap och färdigheter i </a:t>
          </a:r>
          <a:r>
            <a:rPr lang="sv-SE" sz="1400" kern="1200" dirty="0">
              <a:solidFill>
                <a:prstClr val="white"/>
              </a:solidFill>
              <a:latin typeface="Arial"/>
              <a:ea typeface="+mn-ea"/>
              <a:cs typeface="+mn-cs"/>
            </a:rPr>
            <a:t>samarbete</a:t>
          </a:r>
          <a:r>
            <a:rPr lang="sv-SE" sz="1400" kern="1200" dirty="0">
              <a:latin typeface="+mn-lt"/>
            </a:rPr>
            <a:t>, samverkan och socialt samspel</a:t>
          </a:r>
        </a:p>
      </dsp:txBody>
      <dsp:txXfrm>
        <a:off x="2641301" y="2889517"/>
        <a:ext cx="2063645" cy="1238187"/>
      </dsp:txXfrm>
    </dsp:sp>
    <dsp:sp modelId="{D7A689D7-CDBD-4551-9463-508FCA7584A9}">
      <dsp:nvSpPr>
        <dsp:cNvPr id="0" name=""/>
        <dsp:cNvSpPr/>
      </dsp:nvSpPr>
      <dsp:spPr>
        <a:xfrm>
          <a:off x="4911311" y="2889517"/>
          <a:ext cx="2063645" cy="12381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Behov av fördjupningskurser under utbildning eller specialisering efter</a:t>
          </a:r>
        </a:p>
      </dsp:txBody>
      <dsp:txXfrm>
        <a:off x="4911311" y="2889517"/>
        <a:ext cx="2063645" cy="1238187"/>
      </dsp:txXfrm>
    </dsp:sp>
    <dsp:sp modelId="{8537A21B-F3F9-438D-BECD-18AB6B24F987}">
      <dsp:nvSpPr>
        <dsp:cNvPr id="0" name=""/>
        <dsp:cNvSpPr/>
      </dsp:nvSpPr>
      <dsp:spPr>
        <a:xfrm>
          <a:off x="7181320" y="2889517"/>
          <a:ext cx="2063645" cy="12381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latin typeface="+mn-lt"/>
            </a:rPr>
            <a:t>Stärka kunskap om arbete i en politiskt styrd organisation </a:t>
          </a:r>
        </a:p>
      </dsp:txBody>
      <dsp:txXfrm>
        <a:off x="7181320" y="2889517"/>
        <a:ext cx="2063645" cy="12381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B059C-5449-4526-9225-308BA7877E2B}">
      <dsp:nvSpPr>
        <dsp:cNvPr id="0" name=""/>
        <dsp:cNvSpPr/>
      </dsp:nvSpPr>
      <dsp:spPr>
        <a:xfrm>
          <a:off x="210234" y="2510"/>
          <a:ext cx="2871954" cy="17231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60960" rIns="144000" bIns="60960" numCol="1" spcCol="1270" anchor="ctr" anchorCtr="0">
          <a:noAutofit/>
        </a:bodyPr>
        <a:lstStyle/>
        <a:p>
          <a:pPr lvl="0" algn="ctr" defTabSz="711200">
            <a:lnSpc>
              <a:spcPct val="90000"/>
            </a:lnSpc>
            <a:spcBef>
              <a:spcPct val="0"/>
            </a:spcBef>
            <a:spcAft>
              <a:spcPct val="35000"/>
            </a:spcAft>
          </a:pPr>
          <a:r>
            <a:rPr lang="sv-SE" sz="1600" b="1" kern="1200" dirty="0">
              <a:latin typeface="+mn-lt"/>
            </a:rPr>
            <a:t>Teori</a:t>
          </a:r>
          <a:r>
            <a:rPr lang="sv-SE" sz="1600" b="0" kern="1200" dirty="0">
              <a:latin typeface="+mn-lt"/>
            </a:rPr>
            <a:t> – kunskap om grundläggande teori, bred bas med övergripande kunskap inom många olika områden (5/5)</a:t>
          </a:r>
        </a:p>
      </dsp:txBody>
      <dsp:txXfrm>
        <a:off x="210234" y="2510"/>
        <a:ext cx="2871954" cy="1723172"/>
      </dsp:txXfrm>
    </dsp:sp>
    <dsp:sp modelId="{95DD211A-996F-4878-A834-DFAE65DB917B}">
      <dsp:nvSpPr>
        <dsp:cNvPr id="0" name=""/>
        <dsp:cNvSpPr/>
      </dsp:nvSpPr>
      <dsp:spPr>
        <a:xfrm>
          <a:off x="3369385" y="2510"/>
          <a:ext cx="2871954" cy="17231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60960" rIns="60960" bIns="60960" numCol="1" spcCol="1270" anchor="ctr" anchorCtr="0">
          <a:noAutofit/>
        </a:bodyPr>
        <a:lstStyle/>
        <a:p>
          <a:pPr lvl="0" algn="ctr" defTabSz="711200">
            <a:lnSpc>
              <a:spcPct val="90000"/>
            </a:lnSpc>
            <a:spcBef>
              <a:spcPct val="0"/>
            </a:spcBef>
            <a:spcAft>
              <a:spcPct val="35000"/>
            </a:spcAft>
          </a:pPr>
          <a:r>
            <a:rPr lang="sv-SE" sz="1600" b="1" kern="1200" dirty="0">
              <a:latin typeface="+mn-lt"/>
            </a:rPr>
            <a:t>Dokumentation - </a:t>
          </a:r>
          <a:r>
            <a:rPr lang="sv-SE" sz="1600" b="0" kern="1200" dirty="0">
              <a:latin typeface="+mn-lt"/>
            </a:rPr>
            <a:t>färdigheter i grundläggande dokumentation (5/5)</a:t>
          </a:r>
        </a:p>
      </dsp:txBody>
      <dsp:txXfrm>
        <a:off x="3369385" y="2510"/>
        <a:ext cx="2871954" cy="1723172"/>
      </dsp:txXfrm>
    </dsp:sp>
    <dsp:sp modelId="{3B21F42C-53FB-4DC1-9415-3CEC911E2AB0}">
      <dsp:nvSpPr>
        <dsp:cNvPr id="0" name=""/>
        <dsp:cNvSpPr/>
      </dsp:nvSpPr>
      <dsp:spPr>
        <a:xfrm>
          <a:off x="6528535" y="2510"/>
          <a:ext cx="2871954" cy="17231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60960" rIns="60960" bIns="60960" numCol="1" spcCol="1270" anchor="ctr" anchorCtr="0">
          <a:noAutofit/>
        </a:bodyPr>
        <a:lstStyle/>
        <a:p>
          <a:pPr lvl="0" algn="ctr" defTabSz="711200">
            <a:lnSpc>
              <a:spcPct val="90000"/>
            </a:lnSpc>
            <a:spcBef>
              <a:spcPct val="0"/>
            </a:spcBef>
            <a:spcAft>
              <a:spcPct val="35000"/>
            </a:spcAft>
          </a:pPr>
          <a:r>
            <a:rPr lang="sv-SE" sz="1600" kern="1200" dirty="0">
              <a:solidFill>
                <a:prstClr val="white"/>
              </a:solidFill>
              <a:latin typeface="+mn-lt"/>
              <a:ea typeface="+mn-ea"/>
              <a:cs typeface="+mn-cs"/>
            </a:rPr>
            <a:t>Kunskaper i viss juridik, främst </a:t>
          </a:r>
          <a:r>
            <a:rPr lang="sv-SE" sz="1600" kern="1200" dirty="0" err="1">
              <a:solidFill>
                <a:prstClr val="white"/>
              </a:solidFill>
              <a:latin typeface="+mn-lt"/>
              <a:ea typeface="+mn-ea"/>
              <a:cs typeface="+mn-cs"/>
            </a:rPr>
            <a:t>SoL</a:t>
          </a:r>
          <a:r>
            <a:rPr lang="sv-SE" sz="1600" kern="1200" dirty="0">
              <a:solidFill>
                <a:prstClr val="white"/>
              </a:solidFill>
              <a:latin typeface="+mn-lt"/>
              <a:ea typeface="+mn-ea"/>
              <a:cs typeface="+mn-cs"/>
            </a:rPr>
            <a:t>, LSS och LVM (3/5)</a:t>
          </a:r>
        </a:p>
      </dsp:txBody>
      <dsp:txXfrm>
        <a:off x="6528535" y="2510"/>
        <a:ext cx="2871954" cy="1723172"/>
      </dsp:txXfrm>
    </dsp:sp>
    <dsp:sp modelId="{63F169A3-F016-4F88-9B5F-FECC713CB158}">
      <dsp:nvSpPr>
        <dsp:cNvPr id="0" name=""/>
        <dsp:cNvSpPr/>
      </dsp:nvSpPr>
      <dsp:spPr>
        <a:xfrm>
          <a:off x="210234" y="2012879"/>
          <a:ext cx="2871954" cy="17231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60960" rIns="60960" bIns="60960" numCol="1" spcCol="1270" anchor="ctr" anchorCtr="0">
          <a:noAutofit/>
        </a:bodyPr>
        <a:lstStyle/>
        <a:p>
          <a:pPr lvl="0" algn="ctr" defTabSz="711200">
            <a:lnSpc>
              <a:spcPct val="90000"/>
            </a:lnSpc>
            <a:spcBef>
              <a:spcPct val="0"/>
            </a:spcBef>
            <a:spcAft>
              <a:spcPct val="35000"/>
            </a:spcAft>
          </a:pPr>
          <a:r>
            <a:rPr lang="sv-SE" sz="1600" kern="1200" dirty="0">
              <a:latin typeface="+mn-lt"/>
            </a:rPr>
            <a:t>Kunskaper i forskning och statistik  (3/5)</a:t>
          </a:r>
        </a:p>
      </dsp:txBody>
      <dsp:txXfrm>
        <a:off x="210234" y="2012879"/>
        <a:ext cx="2871954" cy="1723172"/>
      </dsp:txXfrm>
    </dsp:sp>
    <dsp:sp modelId="{C7F81F66-B715-4F6F-864A-F9592C71680B}">
      <dsp:nvSpPr>
        <dsp:cNvPr id="0" name=""/>
        <dsp:cNvSpPr/>
      </dsp:nvSpPr>
      <dsp:spPr>
        <a:xfrm>
          <a:off x="3369385" y="2012879"/>
          <a:ext cx="2871954" cy="17231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60960" rIns="60960" bIns="60960" numCol="1" spcCol="1270" anchor="ctr" anchorCtr="0">
          <a:noAutofit/>
        </a:bodyPr>
        <a:lstStyle/>
        <a:p>
          <a:pPr lvl="0" algn="ctr" defTabSz="711200">
            <a:lnSpc>
              <a:spcPct val="90000"/>
            </a:lnSpc>
            <a:spcBef>
              <a:spcPct val="0"/>
            </a:spcBef>
            <a:spcAft>
              <a:spcPct val="35000"/>
            </a:spcAft>
          </a:pPr>
          <a:r>
            <a:rPr lang="sv-SE" sz="1600" kern="1200" dirty="0">
              <a:latin typeface="+mn-lt"/>
            </a:rPr>
            <a:t>Datorvana och digitala kunskaper (3/5)</a:t>
          </a:r>
        </a:p>
      </dsp:txBody>
      <dsp:txXfrm>
        <a:off x="3369385" y="2012879"/>
        <a:ext cx="2871954" cy="1723172"/>
      </dsp:txXfrm>
    </dsp:sp>
    <dsp:sp modelId="{CA28BEC8-4800-4F65-810D-A9393A64D02E}">
      <dsp:nvSpPr>
        <dsp:cNvPr id="0" name=""/>
        <dsp:cNvSpPr/>
      </dsp:nvSpPr>
      <dsp:spPr>
        <a:xfrm>
          <a:off x="6528535" y="2012879"/>
          <a:ext cx="2871954" cy="172317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60960" rIns="60960" bIns="60960" numCol="1" spcCol="1270" anchor="ctr" anchorCtr="0">
          <a:noAutofit/>
        </a:bodyPr>
        <a:lstStyle/>
        <a:p>
          <a:pPr lvl="0" algn="ctr" defTabSz="711200">
            <a:lnSpc>
              <a:spcPct val="90000"/>
            </a:lnSpc>
            <a:spcBef>
              <a:spcPct val="0"/>
            </a:spcBef>
            <a:spcAft>
              <a:spcPct val="35000"/>
            </a:spcAft>
          </a:pPr>
          <a:r>
            <a:rPr lang="sv-SE" sz="1600" kern="1200" dirty="0">
              <a:latin typeface="+mn-lt"/>
            </a:rPr>
            <a:t>Kritiskt förhållningssätt, analyser och kritiskt tänkande (3/5)</a:t>
          </a:r>
        </a:p>
      </dsp:txBody>
      <dsp:txXfrm>
        <a:off x="6528535" y="2012879"/>
        <a:ext cx="2871954" cy="17231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BDCD87-0C88-46CD-941B-C26BFDF9819C}">
      <dsp:nvSpPr>
        <dsp:cNvPr id="0" name=""/>
        <dsp:cNvSpPr/>
      </dsp:nvSpPr>
      <dsp:spPr>
        <a:xfrm>
          <a:off x="3735089" y="1913379"/>
          <a:ext cx="2140545" cy="1824536"/>
        </a:xfrm>
        <a:prstGeom prst="ellipse">
          <a:avLst/>
        </a:prstGeom>
        <a:solidFill>
          <a:srgbClr val="E6460A">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sv-SE" sz="1400" kern="1200" dirty="0">
              <a:solidFill>
                <a:prstClr val="white"/>
              </a:solidFill>
              <a:latin typeface="Arial"/>
              <a:ea typeface="+mn-ea"/>
              <a:cs typeface="+mn-cs"/>
            </a:rPr>
            <a:t>Grundutbildning </a:t>
          </a:r>
        </a:p>
      </dsp:txBody>
      <dsp:txXfrm>
        <a:off x="4048565" y="2180576"/>
        <a:ext cx="1513593" cy="1290142"/>
      </dsp:txXfrm>
    </dsp:sp>
    <dsp:sp modelId="{E2FE0277-3753-45EA-9B41-5BCD3BC64B59}">
      <dsp:nvSpPr>
        <dsp:cNvPr id="0" name=""/>
        <dsp:cNvSpPr/>
      </dsp:nvSpPr>
      <dsp:spPr>
        <a:xfrm rot="11700000">
          <a:off x="2512612" y="2115267"/>
          <a:ext cx="1223788" cy="519992"/>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80070771-3C7E-4F34-B4F0-F37BB2AED0EF}">
      <dsp:nvSpPr>
        <dsp:cNvPr id="0" name=""/>
        <dsp:cNvSpPr/>
      </dsp:nvSpPr>
      <dsp:spPr>
        <a:xfrm>
          <a:off x="1666807" y="1523569"/>
          <a:ext cx="1733309" cy="1386647"/>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35000"/>
            </a:spcAft>
          </a:pPr>
          <a:r>
            <a:rPr lang="sv-SE" sz="1400" kern="1200" dirty="0"/>
            <a:t>Antagningspoäng/</a:t>
          </a:r>
        </a:p>
        <a:p>
          <a:pPr lvl="0" algn="ctr" defTabSz="622300">
            <a:lnSpc>
              <a:spcPct val="90000"/>
            </a:lnSpc>
            <a:spcBef>
              <a:spcPct val="0"/>
            </a:spcBef>
            <a:spcAft>
              <a:spcPct val="35000"/>
            </a:spcAft>
          </a:pPr>
          <a:r>
            <a:rPr lang="sv-SE" sz="1400" kern="1200" dirty="0"/>
            <a:t>antagningsmöjlighet</a:t>
          </a:r>
        </a:p>
      </dsp:txBody>
      <dsp:txXfrm>
        <a:off x="1707421" y="1564183"/>
        <a:ext cx="1652081" cy="1305419"/>
      </dsp:txXfrm>
    </dsp:sp>
    <dsp:sp modelId="{7E07B9A9-D47E-4319-A55E-5029AD72A6D5}">
      <dsp:nvSpPr>
        <dsp:cNvPr id="0" name=""/>
        <dsp:cNvSpPr/>
      </dsp:nvSpPr>
      <dsp:spPr>
        <a:xfrm rot="14700000">
          <a:off x="3424866" y="1040626"/>
          <a:ext cx="1338731" cy="519992"/>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5A130F46-487B-498C-9ED6-63343442435B}">
      <dsp:nvSpPr>
        <dsp:cNvPr id="0" name=""/>
        <dsp:cNvSpPr/>
      </dsp:nvSpPr>
      <dsp:spPr>
        <a:xfrm>
          <a:off x="2944690" y="647"/>
          <a:ext cx="1733309" cy="13866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35000"/>
            </a:spcAft>
          </a:pPr>
          <a:r>
            <a:rPr lang="sv-SE" sz="1400" kern="1200" dirty="0"/>
            <a:t>Ålder och livserfarenhet</a:t>
          </a:r>
        </a:p>
      </dsp:txBody>
      <dsp:txXfrm>
        <a:off x="2985304" y="41261"/>
        <a:ext cx="1652081" cy="1305419"/>
      </dsp:txXfrm>
    </dsp:sp>
    <dsp:sp modelId="{A4B8D7CA-FBB0-48E4-9675-92552B426487}">
      <dsp:nvSpPr>
        <dsp:cNvPr id="0" name=""/>
        <dsp:cNvSpPr/>
      </dsp:nvSpPr>
      <dsp:spPr>
        <a:xfrm rot="17700000">
          <a:off x="4847127" y="1040626"/>
          <a:ext cx="1338731" cy="519992"/>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0DEF06DE-E0E8-4AE5-B708-929408E44719}">
      <dsp:nvSpPr>
        <dsp:cNvPr id="0" name=""/>
        <dsp:cNvSpPr/>
      </dsp:nvSpPr>
      <dsp:spPr>
        <a:xfrm>
          <a:off x="4932724" y="647"/>
          <a:ext cx="1733309" cy="13866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35000"/>
            </a:spcAft>
          </a:pPr>
          <a:r>
            <a:rPr lang="sv-SE" sz="1400" kern="1200" dirty="0"/>
            <a:t>Personlig mognad</a:t>
          </a:r>
        </a:p>
      </dsp:txBody>
      <dsp:txXfrm>
        <a:off x="4973338" y="41261"/>
        <a:ext cx="1652081" cy="1305419"/>
      </dsp:txXfrm>
    </dsp:sp>
    <dsp:sp modelId="{2160CB61-C8B6-4748-96B3-212B1FC07AA7}">
      <dsp:nvSpPr>
        <dsp:cNvPr id="0" name=""/>
        <dsp:cNvSpPr/>
      </dsp:nvSpPr>
      <dsp:spPr>
        <a:xfrm rot="20700000">
          <a:off x="5874324" y="2115267"/>
          <a:ext cx="1223788" cy="519992"/>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732C75A8-1D59-49BD-A7BA-D95CF09218D0}">
      <dsp:nvSpPr>
        <dsp:cNvPr id="0" name=""/>
        <dsp:cNvSpPr/>
      </dsp:nvSpPr>
      <dsp:spPr>
        <a:xfrm>
          <a:off x="6210608" y="1523569"/>
          <a:ext cx="1733309" cy="13866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622300">
            <a:lnSpc>
              <a:spcPct val="90000"/>
            </a:lnSpc>
            <a:spcBef>
              <a:spcPct val="0"/>
            </a:spcBef>
            <a:spcAft>
              <a:spcPct val="35000"/>
            </a:spcAft>
          </a:pPr>
          <a:r>
            <a:rPr lang="sv-SE" sz="1400" kern="1200" dirty="0"/>
            <a:t>Personliga egenskaper</a:t>
          </a:r>
        </a:p>
      </dsp:txBody>
      <dsp:txXfrm>
        <a:off x="6251222" y="1564183"/>
        <a:ext cx="1652081" cy="130541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6451CC-03DF-49D3-AB75-C43D6DF0F0BA}">
      <dsp:nvSpPr>
        <dsp:cNvPr id="0" name=""/>
        <dsp:cNvSpPr/>
      </dsp:nvSpPr>
      <dsp:spPr>
        <a:xfrm>
          <a:off x="3859764" y="2655661"/>
          <a:ext cx="1484054" cy="108205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sv-SE" sz="1400" kern="1200">
              <a:latin typeface="Arial"/>
              <a:ea typeface="+mn-ea"/>
              <a:cs typeface="+mn-cs"/>
            </a:rPr>
            <a:t>Grundutbildning</a:t>
          </a:r>
          <a:endParaRPr lang="sv-SE" sz="1400" kern="1200" dirty="0">
            <a:latin typeface="Arial"/>
            <a:ea typeface="+mn-ea"/>
            <a:cs typeface="+mn-cs"/>
          </a:endParaRPr>
        </a:p>
      </dsp:txBody>
      <dsp:txXfrm>
        <a:off x="4077099" y="2814124"/>
        <a:ext cx="1049384" cy="765125"/>
      </dsp:txXfrm>
    </dsp:sp>
    <dsp:sp modelId="{D7EEF2B3-502F-47A1-9235-8D5FCA66C7FD}">
      <dsp:nvSpPr>
        <dsp:cNvPr id="0" name=""/>
        <dsp:cNvSpPr/>
      </dsp:nvSpPr>
      <dsp:spPr>
        <a:xfrm rot="10800000">
          <a:off x="1664302" y="3042494"/>
          <a:ext cx="2074711"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E50A856-5AE1-482F-8F86-64165E766214}">
      <dsp:nvSpPr>
        <dsp:cNvPr id="0" name=""/>
        <dsp:cNvSpPr/>
      </dsp:nvSpPr>
      <dsp:spPr>
        <a:xfrm>
          <a:off x="988033" y="2975843"/>
          <a:ext cx="1352538" cy="44168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Tolkning av examensmål </a:t>
          </a:r>
        </a:p>
      </dsp:txBody>
      <dsp:txXfrm>
        <a:off x="1000970" y="2988780"/>
        <a:ext cx="1326664" cy="415814"/>
      </dsp:txXfrm>
    </dsp:sp>
    <dsp:sp modelId="{C4467E5C-2A4D-412E-A77D-3A0AF7A10DEE}">
      <dsp:nvSpPr>
        <dsp:cNvPr id="0" name=""/>
        <dsp:cNvSpPr/>
      </dsp:nvSpPr>
      <dsp:spPr>
        <a:xfrm rot="12000000">
          <a:off x="1777882" y="2398350"/>
          <a:ext cx="2108274"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FB95043-9A49-4FAF-A23E-8BA8C0251C84}">
      <dsp:nvSpPr>
        <dsp:cNvPr id="0" name=""/>
        <dsp:cNvSpPr/>
      </dsp:nvSpPr>
      <dsp:spPr>
        <a:xfrm>
          <a:off x="1248818" y="1889032"/>
          <a:ext cx="1185273" cy="6059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Lärosätenas egna kursmål </a:t>
          </a:r>
        </a:p>
      </dsp:txBody>
      <dsp:txXfrm>
        <a:off x="1266566" y="1906780"/>
        <a:ext cx="1149777" cy="570452"/>
      </dsp:txXfrm>
    </dsp:sp>
    <dsp:sp modelId="{583D1A98-DDE5-454C-AE81-E6B9E17DE22D}">
      <dsp:nvSpPr>
        <dsp:cNvPr id="0" name=""/>
        <dsp:cNvSpPr/>
      </dsp:nvSpPr>
      <dsp:spPr>
        <a:xfrm rot="13200000">
          <a:off x="2097055" y="1853514"/>
          <a:ext cx="2175530"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2CAF855-7A96-4431-BCD0-E4136CE96999}">
      <dsp:nvSpPr>
        <dsp:cNvPr id="0" name=""/>
        <dsp:cNvSpPr/>
      </dsp:nvSpPr>
      <dsp:spPr>
        <a:xfrm>
          <a:off x="1490597" y="928693"/>
          <a:ext cx="1721894" cy="75962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Antal disputerade lärare som har yrkeserfarenhet från socialtjänstens arbete</a:t>
          </a:r>
        </a:p>
      </dsp:txBody>
      <dsp:txXfrm>
        <a:off x="1512846" y="950942"/>
        <a:ext cx="1677396" cy="715125"/>
      </dsp:txXfrm>
    </dsp:sp>
    <dsp:sp modelId="{0807B74B-AAE4-4BD0-BB6E-CFA162E52A66}">
      <dsp:nvSpPr>
        <dsp:cNvPr id="0" name=""/>
        <dsp:cNvSpPr/>
      </dsp:nvSpPr>
      <dsp:spPr>
        <a:xfrm rot="14708308">
          <a:off x="2637733" y="1339692"/>
          <a:ext cx="2350065"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4976D3-8CDF-4512-AD87-BB15F41DF832}">
      <dsp:nvSpPr>
        <dsp:cNvPr id="0" name=""/>
        <dsp:cNvSpPr/>
      </dsp:nvSpPr>
      <dsp:spPr>
        <a:xfrm>
          <a:off x="2853897" y="124772"/>
          <a:ext cx="929707" cy="6059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Antal disputerade lärare</a:t>
          </a:r>
        </a:p>
      </dsp:txBody>
      <dsp:txXfrm>
        <a:off x="2871645" y="142520"/>
        <a:ext cx="894211" cy="570452"/>
      </dsp:txXfrm>
    </dsp:sp>
    <dsp:sp modelId="{1ED093F1-B844-4F3F-BD62-B2F6840634AC}">
      <dsp:nvSpPr>
        <dsp:cNvPr id="0" name=""/>
        <dsp:cNvSpPr/>
      </dsp:nvSpPr>
      <dsp:spPr>
        <a:xfrm rot="15959165">
          <a:off x="3425785" y="1326592"/>
          <a:ext cx="2111200"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0966E27-45DD-4FBE-84D4-F529D2C8503C}">
      <dsp:nvSpPr>
        <dsp:cNvPr id="0" name=""/>
        <dsp:cNvSpPr/>
      </dsp:nvSpPr>
      <dsp:spPr>
        <a:xfrm>
          <a:off x="3877717" y="124799"/>
          <a:ext cx="1059554" cy="6059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Antal lärarledda lektioner</a:t>
          </a:r>
        </a:p>
      </dsp:txBody>
      <dsp:txXfrm>
        <a:off x="3895465" y="142547"/>
        <a:ext cx="1024058" cy="570452"/>
      </dsp:txXfrm>
    </dsp:sp>
    <dsp:sp modelId="{39D469E2-31BD-4D70-A00F-39790DC2AD7C}">
      <dsp:nvSpPr>
        <dsp:cNvPr id="0" name=""/>
        <dsp:cNvSpPr/>
      </dsp:nvSpPr>
      <dsp:spPr>
        <a:xfrm rot="17204665">
          <a:off x="4052272" y="1397452"/>
          <a:ext cx="2088891"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658E555-0B62-4A51-843B-B0CA177B2003}">
      <dsp:nvSpPr>
        <dsp:cNvPr id="0" name=""/>
        <dsp:cNvSpPr/>
      </dsp:nvSpPr>
      <dsp:spPr>
        <a:xfrm>
          <a:off x="5018908" y="248509"/>
          <a:ext cx="757435" cy="6059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VFU och längd på VFU</a:t>
          </a:r>
        </a:p>
      </dsp:txBody>
      <dsp:txXfrm>
        <a:off x="5036656" y="266257"/>
        <a:ext cx="721939" cy="570452"/>
      </dsp:txXfrm>
    </dsp:sp>
    <dsp:sp modelId="{B839C1A5-B350-480A-AF8A-0B276E764616}">
      <dsp:nvSpPr>
        <dsp:cNvPr id="0" name=""/>
        <dsp:cNvSpPr/>
      </dsp:nvSpPr>
      <dsp:spPr>
        <a:xfrm rot="18480329">
          <a:off x="4612096" y="1711982"/>
          <a:ext cx="2071003" cy="31356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A811C69-9A2E-49DF-A79D-02B9D4A9C6B2}">
      <dsp:nvSpPr>
        <dsp:cNvPr id="0" name=""/>
        <dsp:cNvSpPr/>
      </dsp:nvSpPr>
      <dsp:spPr>
        <a:xfrm>
          <a:off x="6081587" y="556180"/>
          <a:ext cx="1433379" cy="4946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Antal utbildningsplatser</a:t>
          </a:r>
        </a:p>
      </dsp:txBody>
      <dsp:txXfrm>
        <a:off x="6096075" y="570668"/>
        <a:ext cx="1404403" cy="465672"/>
      </dsp:txXfrm>
    </dsp:sp>
    <dsp:sp modelId="{421C3EDA-ED45-407C-A247-1F7DAFC37F1D}">
      <dsp:nvSpPr>
        <dsp:cNvPr id="0" name=""/>
        <dsp:cNvSpPr/>
      </dsp:nvSpPr>
      <dsp:spPr>
        <a:xfrm rot="19938497">
          <a:off x="5042032" y="2005142"/>
          <a:ext cx="2573506"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44D4710-44A1-4A08-BF3B-DD196BF3F38F}">
      <dsp:nvSpPr>
        <dsp:cNvPr id="0" name=""/>
        <dsp:cNvSpPr/>
      </dsp:nvSpPr>
      <dsp:spPr>
        <a:xfrm>
          <a:off x="6798265" y="1246859"/>
          <a:ext cx="1553235" cy="6059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Val av  antagningsförfarande</a:t>
          </a:r>
        </a:p>
      </dsp:txBody>
      <dsp:txXfrm>
        <a:off x="6816013" y="1264607"/>
        <a:ext cx="1517739" cy="570452"/>
      </dsp:txXfrm>
    </dsp:sp>
    <dsp:sp modelId="{99889DF7-4C0E-4E5F-9EE4-1F15EFB9B133}">
      <dsp:nvSpPr>
        <dsp:cNvPr id="0" name=""/>
        <dsp:cNvSpPr/>
      </dsp:nvSpPr>
      <dsp:spPr>
        <a:xfrm rot="20902139">
          <a:off x="5302531" y="2545818"/>
          <a:ext cx="2565766"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CB8565-6DF9-4E26-B0A6-B8BE0BFCD4A2}">
      <dsp:nvSpPr>
        <dsp:cNvPr id="0" name=""/>
        <dsp:cNvSpPr/>
      </dsp:nvSpPr>
      <dsp:spPr>
        <a:xfrm>
          <a:off x="7020966" y="2124141"/>
          <a:ext cx="1869942" cy="60594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sv-SE" sz="1000" kern="1200" dirty="0"/>
            <a:t>Hur de lägger upp kurser, ordning på kurser, antal Högskolepoäng för olika ämnen</a:t>
          </a:r>
        </a:p>
      </dsp:txBody>
      <dsp:txXfrm>
        <a:off x="7038714" y="2141889"/>
        <a:ext cx="1834446" cy="570452"/>
      </dsp:txXfrm>
    </dsp:sp>
    <dsp:sp modelId="{4ED3CF1B-707F-405C-87AA-59E8226BF4F7}">
      <dsp:nvSpPr>
        <dsp:cNvPr id="0" name=""/>
        <dsp:cNvSpPr/>
      </dsp:nvSpPr>
      <dsp:spPr>
        <a:xfrm rot="21555590">
          <a:off x="5456854" y="3026176"/>
          <a:ext cx="2398575" cy="30838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3B0DAB-D4DD-4945-91BA-E8D4A3A2255E}">
      <dsp:nvSpPr>
        <dsp:cNvPr id="0" name=""/>
        <dsp:cNvSpPr/>
      </dsp:nvSpPr>
      <dsp:spPr>
        <a:xfrm>
          <a:off x="6798256" y="2941050"/>
          <a:ext cx="2166819" cy="42652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Master/magister eller specialistutbildning</a:t>
          </a:r>
        </a:p>
      </dsp:txBody>
      <dsp:txXfrm>
        <a:off x="6810749" y="2953543"/>
        <a:ext cx="2141833" cy="4015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B497D1-9D83-4113-8974-E176AE1B214B}">
      <dsp:nvSpPr>
        <dsp:cNvPr id="0" name=""/>
        <dsp:cNvSpPr/>
      </dsp:nvSpPr>
      <dsp:spPr>
        <a:xfrm>
          <a:off x="4017248" y="2397186"/>
          <a:ext cx="1583100" cy="148412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sv-SE" sz="1200" kern="1200" dirty="0"/>
            <a:t>Grundutbildning</a:t>
          </a:r>
        </a:p>
      </dsp:txBody>
      <dsp:txXfrm>
        <a:off x="4249088" y="2614531"/>
        <a:ext cx="1119420" cy="1049434"/>
      </dsp:txXfrm>
    </dsp:sp>
    <dsp:sp modelId="{5D16F32C-3D0F-4CD6-8CE9-3309450CC3BB}">
      <dsp:nvSpPr>
        <dsp:cNvPr id="0" name=""/>
        <dsp:cNvSpPr/>
      </dsp:nvSpPr>
      <dsp:spPr>
        <a:xfrm rot="10337935">
          <a:off x="1460735" y="3298066"/>
          <a:ext cx="2435152"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420257F1-7F09-4DE3-A126-04EFCC8484AF}">
      <dsp:nvSpPr>
        <dsp:cNvPr id="0" name=""/>
        <dsp:cNvSpPr/>
      </dsp:nvSpPr>
      <dsp:spPr>
        <a:xfrm>
          <a:off x="328651" y="3375270"/>
          <a:ext cx="2286131" cy="4304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Ta emot studenter på VFU</a:t>
          </a:r>
        </a:p>
      </dsp:txBody>
      <dsp:txXfrm>
        <a:off x="341259" y="3387878"/>
        <a:ext cx="2260915" cy="405249"/>
      </dsp:txXfrm>
    </dsp:sp>
    <dsp:sp modelId="{3163A418-C1B7-445D-92B9-BF2CBADC3EE2}">
      <dsp:nvSpPr>
        <dsp:cNvPr id="0" name=""/>
        <dsp:cNvSpPr/>
      </dsp:nvSpPr>
      <dsp:spPr>
        <a:xfrm rot="10911445">
          <a:off x="1602362" y="2943010"/>
          <a:ext cx="2283146"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EA019AC4-D537-42BF-AA70-F3A4E0377A61}">
      <dsp:nvSpPr>
        <dsp:cNvPr id="0" name=""/>
        <dsp:cNvSpPr/>
      </dsp:nvSpPr>
      <dsp:spPr>
        <a:xfrm>
          <a:off x="884849" y="2825828"/>
          <a:ext cx="1436225" cy="41891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God kvalitet på VFU</a:t>
          </a:r>
        </a:p>
      </dsp:txBody>
      <dsp:txXfrm>
        <a:off x="897119" y="2838098"/>
        <a:ext cx="1411685" cy="394372"/>
      </dsp:txXfrm>
    </dsp:sp>
    <dsp:sp modelId="{16CE9899-C476-4F2C-A261-BEAEBC571B9C}">
      <dsp:nvSpPr>
        <dsp:cNvPr id="0" name=""/>
        <dsp:cNvSpPr/>
      </dsp:nvSpPr>
      <dsp:spPr>
        <a:xfrm rot="11530990">
          <a:off x="1769447" y="2587922"/>
          <a:ext cx="2169020"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A0BBC57A-2454-4A4D-9EE0-A1F52550D274}">
      <dsp:nvSpPr>
        <dsp:cNvPr id="0" name=""/>
        <dsp:cNvSpPr/>
      </dsp:nvSpPr>
      <dsp:spPr>
        <a:xfrm>
          <a:off x="1075760" y="2278869"/>
          <a:ext cx="1436225" cy="41891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sv-SE" sz="1000" kern="1200" dirty="0"/>
            <a:t>Studiebesök, praktiker som föreläsare</a:t>
          </a:r>
        </a:p>
      </dsp:txBody>
      <dsp:txXfrm>
        <a:off x="1088030" y="2291139"/>
        <a:ext cx="1411685" cy="394372"/>
      </dsp:txXfrm>
    </dsp:sp>
    <dsp:sp modelId="{ACBE14B9-9713-4993-871C-92DF566CA285}">
      <dsp:nvSpPr>
        <dsp:cNvPr id="0" name=""/>
        <dsp:cNvSpPr/>
      </dsp:nvSpPr>
      <dsp:spPr>
        <a:xfrm rot="13631168">
          <a:off x="2489290" y="1611337"/>
          <a:ext cx="2047455" cy="258551"/>
        </a:xfrm>
        <a:prstGeom prst="rect">
          <a:avLst/>
        </a:prstGeom>
        <a:noFill/>
        <a:ln>
          <a:noFill/>
        </a:ln>
        <a:effectLst/>
      </dsp:spPr>
      <dsp:style>
        <a:lnRef idx="0">
          <a:scrgbClr r="0" g="0" b="0"/>
        </a:lnRef>
        <a:fillRef idx="1">
          <a:scrgbClr r="0" g="0" b="0"/>
        </a:fillRef>
        <a:effectRef idx="0">
          <a:scrgbClr r="0" g="0" b="0"/>
        </a:effectRef>
        <a:fontRef idx="minor">
          <a:schemeClr val="lt1"/>
        </a:fontRef>
      </dsp:style>
    </dsp:sp>
    <dsp:sp modelId="{C1A5EF30-E723-4135-913F-9D4BDE23BBE6}">
      <dsp:nvSpPr>
        <dsp:cNvPr id="0" name=""/>
        <dsp:cNvSpPr/>
      </dsp:nvSpPr>
      <dsp:spPr>
        <a:xfrm>
          <a:off x="2376003" y="854711"/>
          <a:ext cx="882540" cy="26986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Trainee</a:t>
          </a:r>
        </a:p>
      </dsp:txBody>
      <dsp:txXfrm>
        <a:off x="2383907" y="862615"/>
        <a:ext cx="866732" cy="254053"/>
      </dsp:txXfrm>
    </dsp:sp>
    <dsp:sp modelId="{A23A16A7-0890-4BF4-997C-007D0FE48636}">
      <dsp:nvSpPr>
        <dsp:cNvPr id="0" name=""/>
        <dsp:cNvSpPr/>
      </dsp:nvSpPr>
      <dsp:spPr>
        <a:xfrm rot="12209971">
          <a:off x="2046524" y="2248111"/>
          <a:ext cx="2020145"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033A1780-0A86-47D9-8D86-5F739070CD0C}">
      <dsp:nvSpPr>
        <dsp:cNvPr id="0" name=""/>
        <dsp:cNvSpPr/>
      </dsp:nvSpPr>
      <dsp:spPr>
        <a:xfrm>
          <a:off x="1548225" y="1824084"/>
          <a:ext cx="1164142" cy="3010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Introduktion</a:t>
          </a:r>
        </a:p>
      </dsp:txBody>
      <dsp:txXfrm>
        <a:off x="1557044" y="1832903"/>
        <a:ext cx="1146504" cy="283452"/>
      </dsp:txXfrm>
    </dsp:sp>
    <dsp:sp modelId="{FB2029E2-6EE8-4197-8C3E-499768ACF46F}">
      <dsp:nvSpPr>
        <dsp:cNvPr id="0" name=""/>
        <dsp:cNvSpPr/>
      </dsp:nvSpPr>
      <dsp:spPr>
        <a:xfrm rot="13018951">
          <a:off x="2352154" y="1892205"/>
          <a:ext cx="1944748"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D8444B85-18F2-42A8-839E-E02ED5730B30}">
      <dsp:nvSpPr>
        <dsp:cNvPr id="0" name=""/>
        <dsp:cNvSpPr/>
      </dsp:nvSpPr>
      <dsp:spPr>
        <a:xfrm>
          <a:off x="1793880" y="1232548"/>
          <a:ext cx="1507794" cy="40795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baseline="0" dirty="0"/>
            <a:t>Mentorer under/efter utbildning</a:t>
          </a:r>
        </a:p>
      </dsp:txBody>
      <dsp:txXfrm>
        <a:off x="1805829" y="1244497"/>
        <a:ext cx="1483896" cy="384061"/>
      </dsp:txXfrm>
    </dsp:sp>
    <dsp:sp modelId="{0F352CFA-C374-456B-B8DC-1F4A79BED577}">
      <dsp:nvSpPr>
        <dsp:cNvPr id="0" name=""/>
        <dsp:cNvSpPr/>
      </dsp:nvSpPr>
      <dsp:spPr>
        <a:xfrm rot="15091470">
          <a:off x="3357260" y="1351576"/>
          <a:ext cx="1794869"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0EA9FB83-46CE-497E-BDB5-9B5D2CB10D50}">
      <dsp:nvSpPr>
        <dsp:cNvPr id="0" name=""/>
        <dsp:cNvSpPr/>
      </dsp:nvSpPr>
      <dsp:spPr>
        <a:xfrm>
          <a:off x="3354577" y="284479"/>
          <a:ext cx="1231444" cy="69038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Möjlighet till vidareutbildning med eller utan bibehållen lön</a:t>
          </a:r>
        </a:p>
      </dsp:txBody>
      <dsp:txXfrm>
        <a:off x="3374798" y="304700"/>
        <a:ext cx="1191002" cy="649942"/>
      </dsp:txXfrm>
    </dsp:sp>
    <dsp:sp modelId="{B01F5705-EFD9-4B0A-B69F-AFD380812827}">
      <dsp:nvSpPr>
        <dsp:cNvPr id="0" name=""/>
        <dsp:cNvSpPr/>
      </dsp:nvSpPr>
      <dsp:spPr>
        <a:xfrm rot="16847445">
          <a:off x="4282732" y="1357082"/>
          <a:ext cx="1682190"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2419532F-BEF7-40FE-A6F2-16654EFC3CA3}">
      <dsp:nvSpPr>
        <dsp:cNvPr id="0" name=""/>
        <dsp:cNvSpPr/>
      </dsp:nvSpPr>
      <dsp:spPr>
        <a:xfrm>
          <a:off x="4694132" y="284764"/>
          <a:ext cx="1174334" cy="75074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Kompetenshöjande insatser/</a:t>
          </a:r>
        </a:p>
        <a:p>
          <a:pPr lvl="0" algn="ctr" defTabSz="533400">
            <a:lnSpc>
              <a:spcPct val="90000"/>
            </a:lnSpc>
            <a:spcBef>
              <a:spcPct val="0"/>
            </a:spcBef>
            <a:spcAft>
              <a:spcPct val="35000"/>
            </a:spcAft>
          </a:pPr>
          <a:r>
            <a:rPr lang="sv-SE" sz="1200" kern="1200" dirty="0"/>
            <a:t>återkommande utbildningar</a:t>
          </a:r>
        </a:p>
      </dsp:txBody>
      <dsp:txXfrm>
        <a:off x="4716121" y="306753"/>
        <a:ext cx="1130356" cy="706766"/>
      </dsp:txXfrm>
    </dsp:sp>
    <dsp:sp modelId="{D2DDC060-7778-4561-9B9C-CEAB925D6192}">
      <dsp:nvSpPr>
        <dsp:cNvPr id="0" name=""/>
        <dsp:cNvSpPr/>
      </dsp:nvSpPr>
      <dsp:spPr>
        <a:xfrm rot="20813182">
          <a:off x="5662980" y="2581478"/>
          <a:ext cx="1970352"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645750A7-6DB1-4373-901A-9698D6DE9B98}">
      <dsp:nvSpPr>
        <dsp:cNvPr id="0" name=""/>
        <dsp:cNvSpPr/>
      </dsp:nvSpPr>
      <dsp:spPr>
        <a:xfrm>
          <a:off x="7003995" y="2288406"/>
          <a:ext cx="1207293" cy="3976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solidFill>
                <a:schemeClr val="bg1"/>
              </a:solidFill>
            </a:rPr>
            <a:t>Efterfråga vidareutbildning</a:t>
          </a:r>
        </a:p>
      </dsp:txBody>
      <dsp:txXfrm>
        <a:off x="7015642" y="2300053"/>
        <a:ext cx="1183999" cy="374362"/>
      </dsp:txXfrm>
    </dsp:sp>
    <dsp:sp modelId="{C0A28A47-E029-4976-A601-FCCEA28B41D9}">
      <dsp:nvSpPr>
        <dsp:cNvPr id="0" name=""/>
        <dsp:cNvSpPr/>
      </dsp:nvSpPr>
      <dsp:spPr>
        <a:xfrm rot="21449966">
          <a:off x="5727954" y="2921191"/>
          <a:ext cx="2227592"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ECCB55ED-DDA2-4B64-B156-4B3D3C335C73}">
      <dsp:nvSpPr>
        <dsp:cNvPr id="0" name=""/>
        <dsp:cNvSpPr/>
      </dsp:nvSpPr>
      <dsp:spPr>
        <a:xfrm>
          <a:off x="7119332" y="2747857"/>
          <a:ext cx="1670307" cy="50803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Karriärmöjligheter/</a:t>
          </a:r>
        </a:p>
        <a:p>
          <a:pPr lvl="0" algn="ctr" defTabSz="533400">
            <a:lnSpc>
              <a:spcPct val="90000"/>
            </a:lnSpc>
            <a:spcBef>
              <a:spcPct val="0"/>
            </a:spcBef>
            <a:spcAft>
              <a:spcPct val="35000"/>
            </a:spcAft>
          </a:pPr>
          <a:r>
            <a:rPr lang="sv-SE" sz="1200" kern="1200" dirty="0"/>
            <a:t>kompetensmodell</a:t>
          </a:r>
        </a:p>
      </dsp:txBody>
      <dsp:txXfrm>
        <a:off x="7134212" y="2762737"/>
        <a:ext cx="1640547" cy="478271"/>
      </dsp:txXfrm>
    </dsp:sp>
    <dsp:sp modelId="{CFDEDDF7-0D90-4EA6-9E99-2858008568AB}">
      <dsp:nvSpPr>
        <dsp:cNvPr id="0" name=""/>
        <dsp:cNvSpPr/>
      </dsp:nvSpPr>
      <dsp:spPr>
        <a:xfrm rot="18700024">
          <a:off x="5080970" y="1680287"/>
          <a:ext cx="1822326"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ABCDB095-3F46-4225-8F97-FB1A17018B8A}">
      <dsp:nvSpPr>
        <dsp:cNvPr id="0" name=""/>
        <dsp:cNvSpPr/>
      </dsp:nvSpPr>
      <dsp:spPr>
        <a:xfrm>
          <a:off x="5895401" y="919837"/>
          <a:ext cx="1404949" cy="4181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Lärandekultur</a:t>
          </a:r>
        </a:p>
      </dsp:txBody>
      <dsp:txXfrm>
        <a:off x="5907648" y="932084"/>
        <a:ext cx="1380455" cy="393641"/>
      </dsp:txXfrm>
    </dsp:sp>
    <dsp:sp modelId="{1B437D76-F834-4B73-9B97-A8F12DC9E0C9}">
      <dsp:nvSpPr>
        <dsp:cNvPr id="0" name=""/>
        <dsp:cNvSpPr/>
      </dsp:nvSpPr>
      <dsp:spPr>
        <a:xfrm rot="20209711">
          <a:off x="5554531" y="2273574"/>
          <a:ext cx="1949552"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97D77E31-7ECF-4BC9-8C7C-76F5BFB4031F}">
      <dsp:nvSpPr>
        <dsp:cNvPr id="0" name=""/>
        <dsp:cNvSpPr/>
      </dsp:nvSpPr>
      <dsp:spPr>
        <a:xfrm>
          <a:off x="6840909" y="1895806"/>
          <a:ext cx="1169083" cy="24696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Arbetsmiljö</a:t>
          </a:r>
        </a:p>
      </dsp:txBody>
      <dsp:txXfrm>
        <a:off x="6848142" y="1903039"/>
        <a:ext cx="1154617" cy="232503"/>
      </dsp:txXfrm>
    </dsp:sp>
    <dsp:sp modelId="{CA1DFCF4-AADC-4393-A607-4C6E0B94F96F}">
      <dsp:nvSpPr>
        <dsp:cNvPr id="0" name=""/>
        <dsp:cNvSpPr/>
      </dsp:nvSpPr>
      <dsp:spPr>
        <a:xfrm rot="19601176">
          <a:off x="5394199" y="2010243"/>
          <a:ext cx="1871490"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30D9F5C1-7019-4B9C-BFBC-4FD72597A21F}">
      <dsp:nvSpPr>
        <dsp:cNvPr id="0" name=""/>
        <dsp:cNvSpPr/>
      </dsp:nvSpPr>
      <dsp:spPr>
        <a:xfrm>
          <a:off x="6533225" y="1438171"/>
          <a:ext cx="1157398" cy="37483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Arbeta i team</a:t>
          </a:r>
        </a:p>
      </dsp:txBody>
      <dsp:txXfrm>
        <a:off x="6544203" y="1449149"/>
        <a:ext cx="1135442" cy="352875"/>
      </dsp:txXfrm>
    </dsp:sp>
    <dsp:sp modelId="{631DA979-B2A3-4CC2-85D2-A0FECD543CB9}">
      <dsp:nvSpPr>
        <dsp:cNvPr id="0" name=""/>
        <dsp:cNvSpPr/>
      </dsp:nvSpPr>
      <dsp:spPr>
        <a:xfrm rot="485750">
          <a:off x="5725376" y="3321392"/>
          <a:ext cx="2545423" cy="258551"/>
        </a:xfrm>
        <a:prstGeom prst="lef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sp>
    <dsp:sp modelId="{EDA54F85-9B70-4E20-B025-334671D87195}">
      <dsp:nvSpPr>
        <dsp:cNvPr id="0" name=""/>
        <dsp:cNvSpPr/>
      </dsp:nvSpPr>
      <dsp:spPr>
        <a:xfrm>
          <a:off x="7337146" y="3339647"/>
          <a:ext cx="1841939" cy="58051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533400">
            <a:lnSpc>
              <a:spcPct val="90000"/>
            </a:lnSpc>
            <a:spcBef>
              <a:spcPct val="0"/>
            </a:spcBef>
            <a:spcAft>
              <a:spcPct val="35000"/>
            </a:spcAft>
          </a:pPr>
          <a:r>
            <a:rPr lang="sv-SE" sz="1200" kern="1200" dirty="0"/>
            <a:t>Koppling och samverkan mellan arbetsgivare och lärosäten</a:t>
          </a:r>
        </a:p>
      </dsp:txBody>
      <dsp:txXfrm>
        <a:off x="7354149" y="3356650"/>
        <a:ext cx="1807933" cy="54650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CE5069-6CE6-4E2C-A128-E3DDBD8F9412}" type="datetimeFigureOut">
              <a:rPr lang="sv-SE" smtClean="0"/>
              <a:t>2023-10-1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9098D3-DBB3-4794-9674-2B07949C6ADD}" type="slidenum">
              <a:rPr lang="sv-SE" smtClean="0"/>
              <a:t>‹#›</a:t>
            </a:fld>
            <a:endParaRPr lang="sv-SE"/>
          </a:p>
        </p:txBody>
      </p:sp>
    </p:spTree>
    <p:extLst>
      <p:ext uri="{BB962C8B-B14F-4D97-AF65-F5344CB8AC3E}">
        <p14:creationId xmlns:p14="http://schemas.microsoft.com/office/powerpoint/2010/main" val="13791423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uhr.se/publikationer/lagar-och-regler-for-hogre-utbildning/"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www.riksdagen.se/sv/dokument-lagar/dokument/svensk-forfattningssamling/lag-1993792-om-tillstand-att-utfarda-vissa_sfs-1993-792" TargetMode="External"/><Relationship Id="rId4" Type="http://schemas.openxmlformats.org/officeDocument/2006/relationships/hyperlink" Target="https://www.uhr.se/publikationer/lagar-och-regler-for-hogre-utbildning/hogskoleforordningen/"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1640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Times New Roman" panose="02020603050405020304" pitchFamily="18" charset="0"/>
                <a:ea typeface="Times New Roman" panose="02020603050405020304" pitchFamily="18" charset="0"/>
              </a:rPr>
              <a:t>Frågeställningarna i fokusgrupperna har fokuserat på behov kring ”grundutbildningen”, dvs nuvarande socionomprogram. </a:t>
            </a:r>
            <a:r>
              <a:rPr lang="sv-SE" sz="1800">
                <a:effectLst/>
                <a:latin typeface="Times New Roman" panose="02020603050405020304" pitchFamily="18" charset="0"/>
                <a:ea typeface="Times New Roman" panose="02020603050405020304" pitchFamily="18" charset="0"/>
              </a:rPr>
              <a:t>Fokus har inte varit på behov av påbyggnadsutbildningar eller på hur lång utbildningen bör vara. </a:t>
            </a:r>
            <a:endParaRPr lang="sv-SE" dirty="0"/>
          </a:p>
        </p:txBody>
      </p:sp>
      <p:sp>
        <p:nvSpPr>
          <p:cNvPr id="4" name="Platshållare för bildnumm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59A2448B-1718-4C95-80F5-B2951ADA696F}" type="slidenum">
              <a:rPr kumimoji="0" lang="sv-S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327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7869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okusgrupperna lades upp i tre delar:</a:t>
            </a:r>
          </a:p>
          <a:p>
            <a:pPr marL="228600" indent="-228600">
              <a:buAutoNum type="arabicPeriod"/>
            </a:pPr>
            <a:r>
              <a:rPr lang="sv-SE" dirty="0"/>
              <a:t>Vilka ”behov” cheferna har av kunskap/kompetens och färdigheter</a:t>
            </a:r>
          </a:p>
          <a:p>
            <a:pPr marL="228600" indent="-228600">
              <a:buAutoNum type="arabicPeriod"/>
            </a:pPr>
            <a:r>
              <a:rPr lang="sv-SE" dirty="0"/>
              <a:t>Hur väl man upplevde att behoven uppfylls av nuvarande socionomprogram</a:t>
            </a:r>
          </a:p>
          <a:p>
            <a:pPr marL="228600" indent="-228600">
              <a:buAutoNum type="arabicPeriod"/>
            </a:pPr>
            <a:r>
              <a:rPr lang="sv-SE" dirty="0"/>
              <a:t>Vad man ser behövs framåt utifrån samhällsutveckling och lagändringar</a:t>
            </a:r>
          </a:p>
          <a:p>
            <a:pPr marL="0" indent="0">
              <a:buNone/>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latin typeface="+mn-lt"/>
                <a:ea typeface="+mn-ea"/>
                <a:cs typeface="+mn-cs"/>
              </a:rPr>
              <a:t>Vi har lyssnat efter behov. Förslag till lösningar, eller att lyfta vissa behov till Regeringen och nämna att lösningar behöver tas fram, kommer att arbetas med nu fram till i oktober. </a:t>
            </a:r>
          </a:p>
          <a:p>
            <a:pPr marL="0" indent="0">
              <a:buNone/>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774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20000"/>
              </a:lnSpc>
              <a:spcAft>
                <a:spcPts val="1100"/>
              </a:spcAft>
            </a:pPr>
            <a:r>
              <a:rPr lang="sv-SE" sz="1800" dirty="0">
                <a:effectLst/>
                <a:latin typeface="Times New Roman" panose="02020603050405020304" pitchFamily="18" charset="0"/>
                <a:ea typeface="Times New Roman" panose="02020603050405020304" pitchFamily="18" charset="0"/>
              </a:rPr>
              <a:t>Fokusgrupperna resulterade i en tydlig indikation - socionomprogrammet ger i dagsläget inte de kunskaper och färdigheter som behövs för arbete inom socialtjänsten. För att säkerställa att nyutexaminerade socionomer har rätt kunskaper och färdigheter för sitt viktiga uppdrag, bör socionomprogrammet utformas på ett sätt som motsvarar den verklighet de kommer att möta i sin yrkespraktik.</a:t>
            </a:r>
          </a:p>
          <a:p>
            <a:pPr>
              <a:lnSpc>
                <a:spcPct val="120000"/>
              </a:lnSpc>
              <a:spcAft>
                <a:spcPts val="1100"/>
              </a:spcAft>
            </a:pPr>
            <a:endParaRPr lang="sv-SE" sz="1800" dirty="0">
              <a:effectLst/>
              <a:latin typeface="Times New Roman" panose="02020603050405020304" pitchFamily="18" charset="0"/>
              <a:ea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08749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Behov av kunskap och färdigheter som socionomprogrammet inte uppfyller idag</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VFU och praktisk teori</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I fokusgrupperna blev det tydligt att en anpassning av socionomprogrammet bör fokusera på att varva teori och praktik. Studenternas möjligheter till att praktisera teori under hela utbildningen och under den verksamhetsförlagda utbildningen (VFU) behöver stärkas för att ge socionomerna möjlighet att under grundutbildningen utveckla både praktiska och individuella färdigheter. </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VFU ansågs vara det viktigaste området för flest chefer att stärka framåt, för att öka socionomernas praktiska färdigheter och insyn i yrket. VFU behöver utökas och gärna omfatta minst en men helst två praktikterminer. Ett önskemål som framkom är att lägga en praktikperiod tidigt i utbildningen. Det bör vara ett krav att minst en av praktikterminerna förläggs i socialtjänsten. Deltagarna ansåg även att det är viktigt att ersättningssystemet till kommunerna för VFU ses över - ersättning till handledare behöver exempelvis utgå. Ett förslag skulle även vara att lägga en kortare "prövoperiod" tidigt i utbildningen för att på så sätt underlätta en tidig introduktion till yrket. Och att förtydliga vad som bör ingå i en VFU.</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Verklighetsförankring</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Många chefer i fokusgrupperna beskrev studenternas oro och osäkerhet inför att tala med eller att möta brukare.. Att stärka studenternas praktiska färdigheter i bemötande av brukare med olika svåra sociala problem ansågs av cheferna som mycket viktigt. Här efterfrågades bland annat mer praktisk färdighetsträning i samtalsmetodik (svåra samtal), bemötande och krishantering. </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Verksamhetsförankring</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Flera fokusgrupper lyfte även behov av att stärka studenternas koppling till arbetsgivaren ”socialtjänsten” genom att exempelvis underlätta för studiebesök hos arbetsgivaren och att låta företrädare för arbetsgivare föreläsa för studenterna om hur det är att arbeta inom socialtjänsten. Detta för att tidigare förbereda nyutexaminerade socionomer för den verklighet de ska möta och ge en bättre förståelse för vad det innebär att arbeta inom socialtjänsten. </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Breddad grundkunskap om fler socialtjänstområden</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Socionomprogrammets grundkunskap bör breddas och anpassas för att täcka samtliga av socialtjänstens verksamhetsområden, inte bara Individ och familjeomsorg (IFO)</a:t>
            </a:r>
            <a:r>
              <a:rPr lang="sv-SE" sz="1200" baseline="30000" dirty="0">
                <a:effectLst/>
                <a:latin typeface="Arial" panose="020B0604020202020204" pitchFamily="34" charset="0"/>
                <a:ea typeface="Times New Roman" panose="02020603050405020304" pitchFamily="18" charset="0"/>
                <a:cs typeface="Arial" panose="020B0604020202020204" pitchFamily="34" charset="0"/>
              </a:rPr>
              <a:t> </a:t>
            </a:r>
            <a:r>
              <a:rPr lang="sv-SE" sz="1200" dirty="0">
                <a:effectLst/>
                <a:latin typeface="Arial" panose="020B0604020202020204" pitchFamily="34" charset="0"/>
                <a:ea typeface="Times New Roman" panose="02020603050405020304" pitchFamily="18" charset="0"/>
                <a:cs typeface="Arial" panose="020B0604020202020204" pitchFamily="34" charset="0"/>
              </a:rPr>
              <a:t>vilket samtliga fokusgrupper var eniga om. </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Mer livs- och arbetslivserfarenhet – behov av ändrade antagningsförfaranden</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Fokusgrupperna tog upp att färdigheter från tidigare arbeten ofta saknas hos yngre personer som inte har, eller har begränsad, arbetslivserfarenhet, vilket försvårar introduktionen för dem i arbetet som socionom. En utökning av antagningsförfarande till socionomprogrammet efterfrågades, där ålder, arbetslivserfarenhet och eventuellt arbetsprover kunde läggas till som ytterligare ett alternativ till dagens antagningsförfarande (där främst gymnasiebetyg eller poäng på högskoleprov gäller). </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Ytterligare behov av stärkt kompetens</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Det lyftes även behov av mer kunskap och/eller mer färdighetsträning om:</a:t>
            </a:r>
          </a:p>
          <a:p>
            <a:pPr marL="342900" lvl="0" indent="-342900">
              <a:lnSpc>
                <a:spcPct val="120000"/>
              </a:lnSpc>
              <a:buFont typeface="Symbol" panose="05050102010706020507" pitchFamily="18" charset="2"/>
              <a:buChar char=""/>
            </a:pPr>
            <a:r>
              <a:rPr lang="sv-SE" sz="1200" dirty="0">
                <a:effectLst/>
                <a:latin typeface="Arial" panose="020B0604020202020204" pitchFamily="34" charset="0"/>
                <a:ea typeface="Times New Roman" panose="02020603050405020304" pitchFamily="18" charset="0"/>
                <a:cs typeface="Arial" panose="020B0604020202020204" pitchFamily="34" charset="0"/>
              </a:rPr>
              <a:t>viss juridik inom socialrätt, förvaltningsrätt och myndighetsutövning</a:t>
            </a:r>
          </a:p>
          <a:p>
            <a:pPr marL="342900" lvl="0" indent="-342900">
              <a:lnSpc>
                <a:spcPct val="120000"/>
              </a:lnSpc>
              <a:buFont typeface="Symbol" panose="05050102010706020507" pitchFamily="18" charset="2"/>
              <a:buChar char=""/>
            </a:pPr>
            <a:r>
              <a:rPr lang="sv-SE" sz="1200" dirty="0">
                <a:effectLst/>
                <a:latin typeface="Arial" panose="020B0604020202020204" pitchFamily="34" charset="0"/>
                <a:ea typeface="Times New Roman" panose="02020603050405020304" pitchFamily="18" charset="0"/>
                <a:cs typeface="Arial" panose="020B0604020202020204" pitchFamily="34" charset="0"/>
              </a:rPr>
              <a:t>att kunna ta egna initiativ, att självständigt utföra arbetsuppgifter, att ta till sig information</a:t>
            </a:r>
          </a:p>
          <a:p>
            <a:pPr marL="342900" lvl="0" indent="-342900">
              <a:lnSpc>
                <a:spcPct val="120000"/>
              </a:lnSpc>
              <a:buFont typeface="Symbol" panose="05050102010706020507" pitchFamily="18" charset="2"/>
              <a:buChar char=""/>
            </a:pPr>
            <a:r>
              <a:rPr lang="sv-SE" sz="1200" dirty="0">
                <a:effectLst/>
                <a:latin typeface="Arial" panose="020B0604020202020204" pitchFamily="34" charset="0"/>
                <a:ea typeface="Times New Roman" panose="02020603050405020304" pitchFamily="18" charset="0"/>
                <a:cs typeface="Arial" panose="020B0604020202020204" pitchFamily="34" charset="0"/>
              </a:rPr>
              <a:t>samarbete, samspel och socialt samspel</a:t>
            </a:r>
          </a:p>
          <a:p>
            <a:pPr marL="342900" lvl="0" indent="-342900">
              <a:lnSpc>
                <a:spcPct val="120000"/>
              </a:lnSpc>
              <a:spcAft>
                <a:spcPts val="1100"/>
              </a:spcAft>
              <a:buFont typeface="Symbol" panose="05050102010706020507" pitchFamily="18" charset="2"/>
              <a:buChar char=""/>
            </a:pPr>
            <a:r>
              <a:rPr lang="sv-SE" sz="1200" dirty="0">
                <a:effectLst/>
                <a:latin typeface="Arial" panose="020B0604020202020204" pitchFamily="34" charset="0"/>
                <a:ea typeface="Times New Roman" panose="02020603050405020304" pitchFamily="18" charset="0"/>
                <a:cs typeface="Arial" panose="020B0604020202020204" pitchFamily="34" charset="0"/>
              </a:rPr>
              <a:t>att stärka kunskap om att arbeta i en politiskt styrd organisation</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Fördjupningskurser och/eller specialisering</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Behov av fördjupningskurser och/eller specialisering under och/eller efter utbildningen nämndes av fyra av fem fokusgrupper. Då denna undersökning fokuserat på själva grundutbildningen, socionomprogrammet, fördjupades inte dessa diskussioner i fokusgrupperna.</a:t>
            </a:r>
          </a:p>
          <a:p>
            <a:pPr>
              <a:spcBef>
                <a:spcPts val="1500"/>
              </a:spcBef>
              <a:spcAft>
                <a:spcPts val="500"/>
              </a:spcAft>
            </a:pPr>
            <a:endParaRPr lang="sv-SE" sz="1200" b="1" dirty="0">
              <a:effectLst/>
              <a:latin typeface="Arial" panose="020B0604020202020204" pitchFamily="34" charset="0"/>
              <a:ea typeface="Arial" panose="020B0604020202020204" pitchFamily="34" charset="0"/>
              <a:cs typeface="Arial" panose="020B0604020202020204" pitchFamily="34" charset="0"/>
            </a:endParaRPr>
          </a:p>
          <a:p>
            <a:pPr>
              <a:spcBef>
                <a:spcPts val="1500"/>
              </a:spcBef>
              <a:spcAft>
                <a:spcPts val="500"/>
              </a:spcAft>
            </a:pPr>
            <a:r>
              <a:rPr lang="sv-SE" sz="1200" b="1" dirty="0">
                <a:effectLst/>
                <a:latin typeface="Arial" panose="020B0604020202020204" pitchFamily="34" charset="0"/>
                <a:ea typeface="Arial" panose="020B0604020202020204" pitchFamily="34" charset="0"/>
                <a:cs typeface="Arial" panose="020B0604020202020204" pitchFamily="34" charset="0"/>
              </a:rPr>
              <a:t>Skillnader mellan lärosäten</a:t>
            </a:r>
          </a:p>
          <a:p>
            <a:pPr>
              <a:lnSpc>
                <a:spcPct val="120000"/>
              </a:lnSpc>
              <a:spcAft>
                <a:spcPts val="1100"/>
              </a:spcAft>
            </a:pPr>
            <a:r>
              <a:rPr lang="sv-SE" sz="1200" dirty="0">
                <a:effectLst/>
                <a:latin typeface="Arial" panose="020B0604020202020204" pitchFamily="34" charset="0"/>
                <a:ea typeface="Times New Roman" panose="02020603050405020304" pitchFamily="18" charset="0"/>
                <a:cs typeface="Arial" panose="020B0604020202020204" pitchFamily="34" charset="0"/>
              </a:rPr>
              <a:t>Oavsett vilken kommun man arbetade i, stor/liten, storstad/nära storstad/landsbygd etc, var cheferna i fokusgrupperna överlag samstämmiga. De skillnader som framkom i diskussionerna förklarades oftast till att det verkade vara stora skillnader mellan lärosätena. En likriktning mellan lärosätena ansågs viktig både vad gäller nuvarande grundutbildning men även med tanke på behov av eventuella anpassningar framåt. </a:t>
            </a:r>
          </a:p>
          <a:p>
            <a:pPr>
              <a:lnSpc>
                <a:spcPct val="120000"/>
              </a:lnSpc>
            </a:pPr>
            <a:r>
              <a:rPr lang="sv-SE" sz="1200" dirty="0">
                <a:effectLst/>
                <a:latin typeface="Arial" panose="020B0604020202020204" pitchFamily="34" charset="0"/>
                <a:ea typeface="Times New Roman" panose="02020603050405020304" pitchFamily="18" charset="0"/>
                <a:cs typeface="Arial" panose="020B0604020202020204" pitchFamily="34" charset="0"/>
              </a:rPr>
              <a:t>VFU innebär att studenten genomför handledd praktik på en arbetsplats eller liknande verksamhet.</a:t>
            </a:r>
          </a:p>
          <a:p>
            <a:pPr>
              <a:lnSpc>
                <a:spcPct val="120000"/>
              </a:lnSpc>
            </a:pPr>
            <a:r>
              <a:rPr lang="sv-SE" sz="1200" dirty="0">
                <a:effectLst/>
                <a:latin typeface="Arial" panose="020B0604020202020204" pitchFamily="34" charset="0"/>
                <a:ea typeface="Times New Roman" panose="02020603050405020304" pitchFamily="18" charset="0"/>
                <a:cs typeface="Arial" panose="020B0604020202020204" pitchFamily="34" charset="0"/>
              </a:rPr>
              <a:t>Inom individ- och familjeomsorg erbjuds olika typer av stöd såsom exempelvis ekonomiskt bistånd, sociala stödinsatser som att stödja med sysselsättning eller samordning av vård- och stödåtgärder, boendestöd, olika former av familjestöd som familjerådgivning, placering i jourhem eller familjehem och möjlighet till adoption.</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0454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561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65183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latin typeface="+mn-lt"/>
                <a:ea typeface="+mn-ea"/>
                <a:cs typeface="+mn-cs"/>
              </a:rPr>
              <a:t>Enligt fokusgruppsdeltagarna uppfyller socionomprogrammet delvis de behov av kompetens och färdigheter som cheferna har vad gäller nyutexaminerade socionomer för arbete inom socialtjänst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sv-SE" sz="1200" kern="1200" dirty="0">
                <a:solidFill>
                  <a:schemeClr val="tx1"/>
                </a:solidFill>
                <a:latin typeface="+mn-lt"/>
                <a:ea typeface="+mn-ea"/>
                <a:cs typeface="+mn-cs"/>
              </a:rPr>
              <a:t>Grundutbildningen upplevs av samtliga fokusgrupper (5/5) ge kunskap om grundläggande teori och en bred bas med övergripande kunskap inom flera verksamhetsområden. Av socialtjänstens verksamhetsområden upplevs grundutbildningen fokusera mest på Individ- och familjeomsorg (IFO). </a:t>
            </a: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sv-S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sv-SE" sz="1200" kern="1200" dirty="0">
                <a:solidFill>
                  <a:schemeClr val="tx1"/>
                </a:solidFill>
                <a:latin typeface="+mn-lt"/>
                <a:ea typeface="+mn-ea"/>
                <a:cs typeface="+mn-cs"/>
              </a:rPr>
              <a:t>I alla fokusgrupper (5/5) var det även chefer som ansåg att de nyutexaminerade socionomernas färdigheter i grundläggande dokumentation uppfylls. </a:t>
            </a: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sv-S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sv-SE" sz="1200" kern="1200" dirty="0">
                <a:solidFill>
                  <a:schemeClr val="tx1"/>
                </a:solidFill>
                <a:latin typeface="+mn-lt"/>
                <a:ea typeface="+mn-ea"/>
                <a:cs typeface="+mn-cs"/>
              </a:rPr>
              <a:t>Bland cheferna i flertalet fokusgrupper (3/5) upplevs att juridiska kunskaper uppfylls inom relevanta områden såsom kring socialtjänstlagen (</a:t>
            </a:r>
            <a:r>
              <a:rPr lang="sv-SE" sz="1200" kern="1200" dirty="0" err="1">
                <a:solidFill>
                  <a:schemeClr val="tx1"/>
                </a:solidFill>
                <a:latin typeface="+mn-lt"/>
                <a:ea typeface="+mn-ea"/>
                <a:cs typeface="+mn-cs"/>
              </a:rPr>
              <a:t>SoL</a:t>
            </a:r>
            <a:r>
              <a:rPr lang="sv-SE" sz="1200" kern="1200" dirty="0">
                <a:solidFill>
                  <a:schemeClr val="tx1"/>
                </a:solidFill>
                <a:latin typeface="+mn-lt"/>
                <a:ea typeface="+mn-ea"/>
                <a:cs typeface="+mn-cs"/>
              </a:rPr>
              <a:t>), lagen om stöd och service till vissa funktionshindrade (LSS) och lagen om vård av missbrukare i vissa fall (LVM). Deltagarna lyfte även fram att socionomerna har färdigheter i att läsa domar och använda rättspraxis från tidigare domar i högre domstolar och vissa myndigheter. </a:t>
            </a: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sv-S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sv-SE" sz="1200" kern="1200" dirty="0">
                <a:solidFill>
                  <a:schemeClr val="tx1"/>
                </a:solidFill>
                <a:latin typeface="+mn-lt"/>
                <a:ea typeface="+mn-ea"/>
                <a:cs typeface="+mn-cs"/>
              </a:rPr>
              <a:t>I lika många fokusgrupper (3/5) lyftes även att nyutexaminerade socionomer har god kunskap om och färdigheter i forskning och statistik och att behov avseende forskningsbaserat förhållningssätt uppfylls samt att de har kunskap om och tillgång till ny forskning.</a:t>
            </a: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sv-S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sv-SE" sz="1200" kern="1200" dirty="0">
                <a:solidFill>
                  <a:schemeClr val="tx1"/>
                </a:solidFill>
                <a:latin typeface="+mn-lt"/>
                <a:ea typeface="+mn-ea"/>
                <a:cs typeface="+mn-cs"/>
              </a:rPr>
              <a:t>I mer än hälften av fokusgrupperna (3/5) lyftes att de nyutexaminerade har god datorvana och kunskap i att använda digitala verktyg i sina arbeten och lätt för att lära sig nya digitala arbetssätt. </a:t>
            </a: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sv-S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sv-SE" sz="1200" kern="1200" dirty="0">
                <a:solidFill>
                  <a:schemeClr val="tx1"/>
                </a:solidFill>
                <a:latin typeface="+mn-lt"/>
                <a:ea typeface="+mn-ea"/>
                <a:cs typeface="+mn-cs"/>
              </a:rPr>
              <a:t>I större delen av fokusgrupperna (3/5) nämndes också att de nyutexaminerade socionomerna har goda kunskaper och färdigheter i kritiskt förhållningssätt, analyser och kritiskt tänkande. </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3742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ilden är inte ”sann” utan sådant som vi har fått till oss under förarbetet, när vi talat med olika nätverk, grupper, aktörer och forskare.</a:t>
            </a:r>
          </a:p>
          <a:p>
            <a:r>
              <a:rPr lang="sv-SE" dirty="0"/>
              <a:t>Det finns mycket som påverkar att en socionom kommer in på grundutbildningen, får en bra utbildning, tar examen och sedan blir kvar i yrket inom socialtjänsten. Vår undersökning fokuserar på </a:t>
            </a:r>
            <a:r>
              <a:rPr lang="sv-SE" b="1" dirty="0"/>
              <a:t>grundutbildningen, </a:t>
            </a:r>
            <a:r>
              <a:rPr lang="sv-SE" dirty="0"/>
              <a:t>men vill ändå enkelt visa vad mer som kan påverka…</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7A959-8B7C-4707-99AB-39887114325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6904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7A959-8B7C-4707-99AB-39887114325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58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069098D3-DBB3-4794-9674-2B07949C6ADD}" type="slidenum">
              <a:rPr lang="sv-SE" smtClean="0"/>
              <a:t>2</a:t>
            </a:fld>
            <a:endParaRPr lang="sv-SE"/>
          </a:p>
        </p:txBody>
      </p:sp>
    </p:spTree>
    <p:extLst>
      <p:ext uri="{BB962C8B-B14F-4D97-AF65-F5344CB8AC3E}">
        <p14:creationId xmlns:p14="http://schemas.microsoft.com/office/powerpoint/2010/main" val="1630948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dirty="0">
                <a:effectLst/>
                <a:latin typeface="Calibri" panose="020F0502020204030204" pitchFamily="34" charset="0"/>
                <a:ea typeface="Calibri" panose="020F0502020204030204" pitchFamily="34" charset="0"/>
                <a:cs typeface="Times New Roman" panose="02020603050405020304" pitchFamily="18" charset="0"/>
              </a:rPr>
              <a:t>19 lärosäten idag, varav 17 är statliga och två enskilda utbildningsanordnare. </a:t>
            </a:r>
            <a:r>
              <a:rPr lang="sv-SE" sz="1200" dirty="0" err="1">
                <a:effectLst/>
                <a:latin typeface="Calibri" panose="020F0502020204030204" pitchFamily="34" charset="0"/>
                <a:ea typeface="Calibri" panose="020F0502020204030204" pitchFamily="34" charset="0"/>
                <a:cs typeface="Times New Roman" panose="02020603050405020304" pitchFamily="18" charset="0"/>
              </a:rPr>
              <a:t>Orangemarkerat</a:t>
            </a:r>
            <a:r>
              <a:rPr lang="sv-SE" sz="1200" dirty="0">
                <a:effectLst/>
                <a:latin typeface="Calibri" panose="020F0502020204030204" pitchFamily="34" charset="0"/>
                <a:ea typeface="Calibri" panose="020F0502020204030204" pitchFamily="34" charset="0"/>
                <a:cs typeface="Times New Roman" panose="02020603050405020304" pitchFamily="18" charset="0"/>
              </a:rPr>
              <a:t> är knutet till regering och riksdag och statliga myndigheter.</a:t>
            </a:r>
          </a:p>
          <a:p>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p>
            <a:r>
              <a:rPr lang="sv-SE" b="1" i="0" dirty="0">
                <a:solidFill>
                  <a:srgbClr val="202124"/>
                </a:solidFill>
                <a:effectLst/>
                <a:latin typeface="arial" panose="020B0604020202020204" pitchFamily="34" charset="0"/>
              </a:rPr>
              <a:t>Övergripande är det högskolelagen, högskoleförordningen och Universitets och högskolerådets författningssamling</a:t>
            </a:r>
            <a:r>
              <a:rPr lang="sv-SE" b="0" i="0" dirty="0">
                <a:solidFill>
                  <a:srgbClr val="202124"/>
                </a:solidFill>
                <a:effectLst/>
                <a:latin typeface="arial" panose="020B0604020202020204" pitchFamily="34" charset="0"/>
              </a:rPr>
              <a:t> som styr högskolan. Universitetskanslersämbetet UKÄ, är den myndighet som granskar och kontrollerar att högskolan följer de lagar och regler som gäller. Universitet och högskolor får även styra mycket själva.</a:t>
            </a:r>
          </a:p>
          <a:p>
            <a:endParaRPr lang="sv-SE" sz="1200" b="0" i="0" dirty="0">
              <a:solidFill>
                <a:srgbClr val="202124"/>
              </a:solidFill>
              <a:effectLst/>
              <a:latin typeface="arial" panose="020B0604020202020204" pitchFamily="34" charset="0"/>
              <a:ea typeface="Calibri" panose="020F0502020204030204" pitchFamily="34" charset="0"/>
              <a:cs typeface="Times New Roman" panose="02020603050405020304" pitchFamily="18" charset="0"/>
            </a:endParaRPr>
          </a:p>
          <a:p>
            <a:r>
              <a:rPr lang="sv-SE" dirty="0">
                <a:hlinkClick r:id="rId3"/>
              </a:rPr>
              <a:t>Lagar och regler som styr den högre utbildningen - Universitets- och högskolerådet (UHR)</a:t>
            </a:r>
            <a:endParaRPr lang="sv-SE" dirty="0"/>
          </a:p>
          <a:p>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p>
            <a:pPr algn="l"/>
            <a:r>
              <a:rPr lang="sv-SE" b="1" i="0" dirty="0">
                <a:solidFill>
                  <a:srgbClr val="000000"/>
                </a:solidFill>
                <a:effectLst/>
                <a:latin typeface="BauWebPro"/>
              </a:rPr>
              <a:t>Högskolelagen</a:t>
            </a:r>
          </a:p>
          <a:p>
            <a:pPr algn="l"/>
            <a:r>
              <a:rPr lang="sv-SE" b="0" i="0" dirty="0">
                <a:solidFill>
                  <a:srgbClr val="000000"/>
                </a:solidFill>
                <a:effectLst/>
                <a:latin typeface="Calibri" panose="020F0502020204030204" pitchFamily="34" charset="0"/>
              </a:rPr>
              <a:t>Högskolelagen reglerar den svenska högskolan. Den beslutas av riksdagen och innehåller grundläggande bestämmelser för statliga högskolor och universitet i Sverige.</a:t>
            </a:r>
          </a:p>
          <a:p>
            <a:pPr algn="l"/>
            <a:endParaRPr lang="sv-SE" b="0" i="0" dirty="0">
              <a:solidFill>
                <a:srgbClr val="000000"/>
              </a:solidFill>
              <a:effectLst/>
              <a:latin typeface="Calibri" panose="020F0502020204030204" pitchFamily="34" charset="0"/>
            </a:endParaRPr>
          </a:p>
          <a:p>
            <a:pPr algn="l"/>
            <a:r>
              <a:rPr lang="sv-SE" b="1" i="0" dirty="0">
                <a:solidFill>
                  <a:srgbClr val="000000"/>
                </a:solidFill>
                <a:effectLst/>
                <a:latin typeface="BauWebPro"/>
              </a:rPr>
              <a:t>Högskoleförordningen</a:t>
            </a:r>
          </a:p>
          <a:p>
            <a:pPr algn="l"/>
            <a:r>
              <a:rPr lang="sv-SE" b="0" i="0" dirty="0">
                <a:solidFill>
                  <a:srgbClr val="000000"/>
                </a:solidFill>
                <a:effectLst/>
                <a:latin typeface="Calibri" panose="020F0502020204030204" pitchFamily="34" charset="0"/>
              </a:rPr>
              <a:t>Högskoleförordningen är ett komplement till högskolelagen. Här finns till exempel tillträdesregler, examensmål, information om vad som kan överklagas och bestämmelser om högskoleprovet.</a:t>
            </a:r>
          </a:p>
          <a:p>
            <a:pPr algn="l"/>
            <a:r>
              <a:rPr lang="sv-SE" b="0" i="0" u="sng" dirty="0">
                <a:solidFill>
                  <a:srgbClr val="006E96"/>
                </a:solidFill>
                <a:effectLst/>
                <a:latin typeface="Calibri" panose="020F0502020204030204" pitchFamily="34" charset="0"/>
                <a:hlinkClick r:id="rId4" tooltip="Läs mer om Högskoleförordningen"/>
              </a:rPr>
              <a:t>Läs mer om högskoleförordningen</a:t>
            </a:r>
            <a:endParaRPr lang="sv-SE" b="0" i="0" u="sng" dirty="0">
              <a:solidFill>
                <a:srgbClr val="006E96"/>
              </a:solidFill>
              <a:effectLst/>
              <a:latin typeface="Calibri" panose="020F0502020204030204" pitchFamily="34" charset="0"/>
            </a:endParaRPr>
          </a:p>
          <a:p>
            <a:pPr algn="l"/>
            <a:endParaRPr lang="sv-SE" b="0" i="0" u="sng" dirty="0">
              <a:solidFill>
                <a:srgbClr val="006E96"/>
              </a:solidFill>
              <a:effectLst/>
              <a:latin typeface="Calibri" panose="020F0502020204030204" pitchFamily="34" charset="0"/>
            </a:endParaRPr>
          </a:p>
          <a:p>
            <a:pPr algn="l"/>
            <a:r>
              <a:rPr lang="sv-SE" b="1" i="0" dirty="0">
                <a:solidFill>
                  <a:srgbClr val="000000"/>
                </a:solidFill>
                <a:effectLst/>
                <a:latin typeface="BauWebPro"/>
              </a:rPr>
              <a:t>Lagar och regler för enskilda utbildningsanordnare</a:t>
            </a:r>
          </a:p>
          <a:p>
            <a:pPr algn="l"/>
            <a:r>
              <a:rPr lang="sv-SE" b="0" i="0" dirty="0">
                <a:solidFill>
                  <a:srgbClr val="000000"/>
                </a:solidFill>
                <a:effectLst/>
                <a:latin typeface="Calibri" panose="020F0502020204030204" pitchFamily="34" charset="0"/>
              </a:rPr>
              <a:t>De utbildningsanordnarna som inte är statliga måste ha tillstånd av regeringen att utfärda examina. I </a:t>
            </a:r>
            <a:r>
              <a:rPr lang="sv-SE" b="0" i="1" dirty="0">
                <a:solidFill>
                  <a:srgbClr val="000000"/>
                </a:solidFill>
                <a:effectLst/>
                <a:latin typeface="Calibri" panose="020F0502020204030204" pitchFamily="34" charset="0"/>
              </a:rPr>
              <a:t>lagen (1993: 792) om tillstånd att utfärda vissa examina</a:t>
            </a:r>
            <a:r>
              <a:rPr lang="sv-SE" b="0" i="0" dirty="0">
                <a:solidFill>
                  <a:srgbClr val="000000"/>
                </a:solidFill>
                <a:effectLst/>
                <a:latin typeface="Calibri" panose="020F0502020204030204" pitchFamily="34" charset="0"/>
              </a:rPr>
              <a:t> står det bland annat att utbildningen ska vila på vetenskaplig eller konstnärlig grund och på beprövad erfarenhet. Utbildningen ska också bedrivas så att den uppfyller de krav som ställs i </a:t>
            </a:r>
            <a:r>
              <a:rPr lang="sv-SE" b="0" i="1" dirty="0">
                <a:solidFill>
                  <a:srgbClr val="000000"/>
                </a:solidFill>
                <a:effectLst/>
                <a:latin typeface="Calibri" panose="020F0502020204030204" pitchFamily="34" charset="0"/>
              </a:rPr>
              <a:t>högskolelagens</a:t>
            </a:r>
            <a:r>
              <a:rPr lang="sv-SE" b="0" i="0" dirty="0">
                <a:solidFill>
                  <a:srgbClr val="000000"/>
                </a:solidFill>
                <a:effectLst/>
                <a:latin typeface="Calibri" panose="020F0502020204030204" pitchFamily="34" charset="0"/>
              </a:rPr>
              <a:t> första kapitel. I övrigt gäller inte högskolelagen för de enskilda utbildningsanordnarna.</a:t>
            </a:r>
          </a:p>
          <a:p>
            <a:pPr algn="l"/>
            <a:r>
              <a:rPr lang="sv-SE" b="0" i="0" u="sng" dirty="0">
                <a:solidFill>
                  <a:srgbClr val="006E96"/>
                </a:solidFill>
                <a:effectLst/>
                <a:latin typeface="Calibri" panose="020F0502020204030204" pitchFamily="34" charset="0"/>
                <a:hlinkClick r:id="rId5" tooltip="Lagen (1993:792) om tillstånd att utfärda vissa examina "/>
              </a:rPr>
              <a:t>Till Lagen (1993:792) om tillstånd att utfärda vissa </a:t>
            </a:r>
            <a:r>
              <a:rPr lang="sv-SE" b="0" i="0" u="sng" dirty="0" err="1">
                <a:solidFill>
                  <a:srgbClr val="006E96"/>
                </a:solidFill>
                <a:effectLst/>
                <a:latin typeface="Calibri" panose="020F0502020204030204" pitchFamily="34" charset="0"/>
                <a:hlinkClick r:id="rId5" tooltip="Lagen (1993:792) om tillstånd att utfärda vissa examina "/>
              </a:rPr>
              <a:t>examinaÖppna</a:t>
            </a:r>
            <a:r>
              <a:rPr lang="sv-SE" b="0" i="0" u="sng" dirty="0">
                <a:solidFill>
                  <a:srgbClr val="006E96"/>
                </a:solidFill>
                <a:effectLst/>
                <a:latin typeface="Calibri" panose="020F0502020204030204" pitchFamily="34" charset="0"/>
                <a:hlinkClick r:id="rId5" tooltip="Lagen (1993:792) om tillstånd att utfärda vissa examina "/>
              </a:rPr>
              <a:t> i nytt fönster</a:t>
            </a:r>
            <a:endParaRPr lang="sv-SE" b="0" i="0" u="sng" dirty="0">
              <a:solidFill>
                <a:srgbClr val="006E96"/>
              </a:solidFill>
              <a:effectLst/>
              <a:latin typeface="Calibri" panose="020F0502020204030204" pitchFamily="34" charset="0"/>
            </a:endParaRPr>
          </a:p>
          <a:p>
            <a:pPr algn="l"/>
            <a:endParaRPr lang="sv-SE" b="0" i="0" dirty="0">
              <a:solidFill>
                <a:srgbClr val="000000"/>
              </a:solidFill>
              <a:effectLst/>
              <a:latin typeface="Calibri" panose="020F0502020204030204" pitchFamily="34" charset="0"/>
            </a:endParaRPr>
          </a:p>
          <a:p>
            <a:pPr algn="l"/>
            <a:r>
              <a:rPr lang="sv-SE" b="0" i="0" dirty="0">
                <a:solidFill>
                  <a:srgbClr val="000000"/>
                </a:solidFill>
                <a:effectLst/>
                <a:latin typeface="Calibri" panose="020F0502020204030204" pitchFamily="34" charset="0"/>
              </a:rPr>
              <a:t>Utbildningen ska dessutom uppfylla de särskilda krav som gäller enligt examensordningen, som är en </a:t>
            </a:r>
            <a:r>
              <a:rPr lang="sv-SE" b="1" i="0" dirty="0">
                <a:solidFill>
                  <a:srgbClr val="000000"/>
                </a:solidFill>
                <a:effectLst/>
                <a:latin typeface="Calibri" panose="020F0502020204030204" pitchFamily="34" charset="0"/>
              </a:rPr>
              <a:t>bilaga</a:t>
            </a:r>
            <a:r>
              <a:rPr lang="sv-SE" b="0" i="0" dirty="0">
                <a:solidFill>
                  <a:srgbClr val="000000"/>
                </a:solidFill>
                <a:effectLst/>
                <a:latin typeface="Calibri" panose="020F0502020204030204" pitchFamily="34" charset="0"/>
              </a:rPr>
              <a:t> till högskoleförordningen. Övriga delar av högskoleförordningen gäller inte för de enskilda utbildningsanordnarna.</a:t>
            </a:r>
          </a:p>
          <a:p>
            <a:pPr algn="l"/>
            <a:endParaRPr lang="sv-SE" b="0" i="0" dirty="0">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effectLst/>
                <a:latin typeface="Calibri" panose="020F0502020204030204" pitchFamily="34" charset="0"/>
                <a:ea typeface="Calibri" panose="020F0502020204030204" pitchFamily="34" charset="0"/>
                <a:cs typeface="Times New Roman" panose="02020603050405020304" pitchFamily="18" charset="0"/>
              </a:rPr>
              <a:t>UHR</a:t>
            </a:r>
            <a:r>
              <a:rPr lang="sv-SE" sz="1200" b="0" dirty="0">
                <a:effectLst/>
                <a:latin typeface="Calibri" panose="020F0502020204030204" pitchFamily="34" charset="0"/>
                <a:ea typeface="Calibri" panose="020F0502020204030204" pitchFamily="34" charset="0"/>
                <a:cs typeface="Times New Roman" panose="02020603050405020304" pitchFamily="18" charset="0"/>
              </a:rPr>
              <a:t> ansvarar för samordningen kring antagningen och antagningsförfarande – enbart betyg eller yrkeserfarenhet och högskoleprov eller kombination eller…? </a:t>
            </a:r>
          </a:p>
          <a:p>
            <a:pPr algn="l"/>
            <a:r>
              <a:rPr lang="sv-SE" b="0" i="0" dirty="0">
                <a:solidFill>
                  <a:srgbClr val="000000"/>
                </a:solidFill>
                <a:effectLst/>
                <a:latin typeface="Calibri" panose="020F0502020204030204" pitchFamily="34" charset="0"/>
              </a:rPr>
              <a:t>https://www.uhr.se/om-uhr/</a:t>
            </a:r>
          </a:p>
          <a:p>
            <a:pPr algn="l"/>
            <a:endParaRPr lang="sv-SE" b="1" i="0" dirty="0">
              <a:solidFill>
                <a:srgbClr val="000000"/>
              </a:solidFill>
              <a:effectLst/>
              <a:latin typeface="Calibri" panose="020F0502020204030204" pitchFamily="34" charset="0"/>
            </a:endParaRPr>
          </a:p>
          <a:p>
            <a:pPr algn="l"/>
            <a:r>
              <a:rPr lang="sv-SE" b="1" i="0" dirty="0">
                <a:effectLst/>
                <a:highlight>
                  <a:srgbClr val="FF0000"/>
                </a:highlight>
                <a:latin typeface="Circular"/>
              </a:rPr>
              <a:t>Högskolor och universitet bestämmer hur många platser en utbildning ska ha.</a:t>
            </a:r>
          </a:p>
          <a:p>
            <a:pPr algn="l"/>
            <a:r>
              <a:rPr lang="sv-SE" b="0" i="0" dirty="0">
                <a:effectLst/>
                <a:latin typeface="Circular"/>
              </a:rPr>
              <a:t>Det här gäller för alla nationella utbildningar på grundnivå:</a:t>
            </a:r>
          </a:p>
          <a:p>
            <a:pPr algn="l">
              <a:buFont typeface="Arial" panose="020B0604020202020204" pitchFamily="34" charset="0"/>
              <a:buChar char="•"/>
            </a:pPr>
            <a:r>
              <a:rPr lang="sv-SE" b="0" i="0" dirty="0">
                <a:effectLst/>
                <a:latin typeface="Circular"/>
              </a:rPr>
              <a:t>Minst en tredjedel av platserna går till urvalsgrupperna för betyg.</a:t>
            </a:r>
          </a:p>
          <a:p>
            <a:pPr algn="l">
              <a:buFont typeface="Arial" panose="020B0604020202020204" pitchFamily="34" charset="0"/>
              <a:buChar char="•"/>
            </a:pPr>
            <a:r>
              <a:rPr lang="sv-SE" b="0" i="0" dirty="0">
                <a:effectLst/>
                <a:latin typeface="Circular"/>
              </a:rPr>
              <a:t>Minst en tredjedel av platserna går till urvalsgruppen för högskoleprovet.</a:t>
            </a:r>
          </a:p>
          <a:p>
            <a:pPr algn="l">
              <a:buFont typeface="Arial" panose="020B0604020202020204" pitchFamily="34" charset="0"/>
              <a:buChar char="•"/>
            </a:pPr>
            <a:r>
              <a:rPr lang="sv-SE" b="0" i="0" dirty="0">
                <a:effectLst/>
                <a:latin typeface="Circular"/>
              </a:rPr>
              <a:t>Den återstående tredjedelen av platserna får universiteten och högskolorna själva bestämma vilka urvalsgrupper de ska gå till</a:t>
            </a:r>
          </a:p>
          <a:p>
            <a:pPr algn="l"/>
            <a:r>
              <a:rPr lang="sv-SE" b="0" i="0" dirty="0">
                <a:effectLst/>
                <a:latin typeface="Circular"/>
              </a:rPr>
              <a:t>Hur fördelningen är för en viss utbildning kan du läsa i kursbeskrivningen för den utbildningen. I träfflistan på söksidan och i anmälan finns det för varje utbildning en länk till kursbeskrivningen under ”Visa mer". https://www.antagning.se/sv/vanliga-fragor-och-svar/sok-bland-vara-fragor-och-svar/</a:t>
            </a:r>
          </a:p>
          <a:p>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7A959-8B7C-4707-99AB-39887114325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4921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7A959-8B7C-4707-99AB-39887114325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0346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C62625E-3BD0-4BB7-AAAB-0DC2854D65B5}" type="slidenum">
              <a:rPr lang="sv-SE" smtClean="0"/>
              <a:t>24</a:t>
            </a:fld>
            <a:endParaRPr lang="sv-SE"/>
          </a:p>
        </p:txBody>
      </p:sp>
    </p:spTree>
    <p:extLst>
      <p:ext uri="{BB962C8B-B14F-4D97-AF65-F5344CB8AC3E}">
        <p14:creationId xmlns:p14="http://schemas.microsoft.com/office/powerpoint/2010/main" val="2402571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069098D3-DBB3-4794-9674-2B07949C6ADD}" type="slidenum">
              <a:rPr lang="sv-SE" smtClean="0"/>
              <a:t>25</a:t>
            </a:fld>
            <a:endParaRPr lang="sv-SE"/>
          </a:p>
        </p:txBody>
      </p:sp>
    </p:spTree>
    <p:extLst>
      <p:ext uri="{BB962C8B-B14F-4D97-AF65-F5344CB8AC3E}">
        <p14:creationId xmlns:p14="http://schemas.microsoft.com/office/powerpoint/2010/main" val="1865237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102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492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re steg Förberedelser, faktainhämtning, efterarbete</a:t>
            </a:r>
          </a:p>
          <a:p>
            <a:r>
              <a:rPr lang="sv-SE" dirty="0"/>
              <a:t>Fokusgrupperna var steg 2, för att inhämta fakta. </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4462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Times New Roman" panose="02020603050405020304" pitchFamily="18" charset="0"/>
                <a:ea typeface="Times New Roman" panose="02020603050405020304" pitchFamily="18" charset="0"/>
              </a:rPr>
              <a:t>Rapporten om resultaten från fokusgrupperna</a:t>
            </a:r>
            <a:r>
              <a:rPr lang="sv-SE" sz="1200" dirty="0">
                <a:effectLst/>
                <a:latin typeface="Segoe UI" panose="020B0502040204020203" pitchFamily="34" charset="0"/>
                <a:ea typeface="Times New Roman" panose="02020603050405020304" pitchFamily="18" charset="0"/>
                <a:cs typeface="Segoe UI" panose="020B0502040204020203" pitchFamily="34" charset="0"/>
              </a:rPr>
              <a:t> </a:t>
            </a:r>
            <a:r>
              <a:rPr lang="sv-SE" sz="1200" dirty="0">
                <a:effectLst/>
                <a:latin typeface="Times New Roman" panose="02020603050405020304" pitchFamily="18" charset="0"/>
                <a:ea typeface="Times New Roman" panose="02020603050405020304" pitchFamily="18" charset="0"/>
              </a:rPr>
              <a:t>kommer att användas i SKR:s fortsatta förankrings- och analysarbete inom olika medlemsnätverk och politiska beredningar under hösten 2023. Slutsatser och förslag från arbetet beräknas vara sammanställda under senare delen av 2023, och ska ligga till grund för påverkansarbete under 2024.</a:t>
            </a:r>
          </a:p>
          <a:p>
            <a:endParaRPr lang="sv-SE" dirty="0"/>
          </a:p>
        </p:txBody>
      </p:sp>
      <p:sp>
        <p:nvSpPr>
          <p:cNvPr id="4" name="Platshållare för bildnummer 3"/>
          <p:cNvSpPr>
            <a:spLocks noGrp="1"/>
          </p:cNvSpPr>
          <p:nvPr>
            <p:ph type="sldNum" sz="quarter" idx="5"/>
          </p:nvPr>
        </p:nvSpPr>
        <p:spPr/>
        <p:txBody>
          <a:bodyPr/>
          <a:lstStyle/>
          <a:p>
            <a:fld id="{069098D3-DBB3-4794-9674-2B07949C6ADD}" type="slidenum">
              <a:rPr lang="sv-SE" smtClean="0"/>
              <a:t>6</a:t>
            </a:fld>
            <a:endParaRPr lang="sv-SE"/>
          </a:p>
        </p:txBody>
      </p:sp>
    </p:spTree>
    <p:extLst>
      <p:ext uri="{BB962C8B-B14F-4D97-AF65-F5344CB8AC3E}">
        <p14:creationId xmlns:p14="http://schemas.microsoft.com/office/powerpoint/2010/main" val="1910196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6002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7175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1600"/>
              </a:spcAft>
            </a:pPr>
            <a:r>
              <a:rPr lang="sv-SE" dirty="0"/>
              <a:t>Bilaga – </a:t>
            </a:r>
            <a:r>
              <a:rPr lang="sv-SE" sz="1800" b="1" kern="0" dirty="0">
                <a:effectLst/>
                <a:latin typeface="Arial" panose="020B0604020202020204" pitchFamily="34" charset="0"/>
                <a:ea typeface="Arial" panose="020B0604020202020204" pitchFamily="34" charset="0"/>
                <a:cs typeface="Times New Roman" panose="02020603050405020304" pitchFamily="18" charset="0"/>
              </a:rPr>
              <a:t> </a:t>
            </a:r>
            <a:r>
              <a:rPr lang="sv-SE" sz="1800" b="1" dirty="0">
                <a:effectLst/>
                <a:latin typeface="Arial" panose="020B0604020202020204" pitchFamily="34" charset="0"/>
                <a:ea typeface="Arial" panose="020B0604020202020204" pitchFamily="34" charset="0"/>
                <a:cs typeface="Times New Roman" panose="02020603050405020304" pitchFamily="18" charset="0"/>
              </a:rPr>
              <a:t>Utdrag ur Högskoleförordningen, Examensordning, bilaga 2, </a:t>
            </a:r>
            <a:r>
              <a:rPr lang="sv-SE" dirty="0"/>
              <a:t>ingick i kallelsen till fokusgruppen </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85023-44BC-4B63-852A-FE5115D878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69465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79877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3247EC38-CF7B-DF2C-B84A-0019C2778DD3}"/>
              </a:ext>
            </a:extLst>
          </p:cNvPr>
          <p:cNvSpPr>
            <a:spLocks noGrp="1"/>
          </p:cNvSpPr>
          <p:nvPr>
            <p:ph type="title"/>
          </p:nvPr>
        </p:nvSpPr>
        <p:spPr>
          <a:xfrm>
            <a:off x="666000" y="2746800"/>
            <a:ext cx="9608400" cy="1965600"/>
          </a:xfrm>
        </p:spPr>
        <p:txBody>
          <a:bodyPr/>
          <a:lstStyle>
            <a:lvl1pPr algn="ctr">
              <a:defRPr sz="5400"/>
            </a:lvl1pPr>
          </a:lstStyle>
          <a:p>
            <a:r>
              <a:rPr lang="sv-SE"/>
              <a:t>Klicka här för att ändra mall för rubrikformat</a:t>
            </a:r>
            <a:endParaRPr lang="en-GB"/>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291682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470437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289746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248934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243842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99599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3-10-12</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a:extLst>
              <a:ext uri="{FF2B5EF4-FFF2-40B4-BE49-F238E27FC236}">
                <a16:creationId xmlns:a16="http://schemas.microsoft.com/office/drawing/2014/main" id="{DC4C474C-256C-4F69-82DB-E30D2C1C0985}"/>
              </a:ext>
              <a:ext uri="{C183D7F6-B498-43B3-948B-1728B52AA6E4}">
                <adec:decorative xmlns:adec="http://schemas.microsoft.com/office/drawing/2017/decorative" xmlns=""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0504788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1ADA1F9B-CCF0-4D82-A120-69E88C498975}"/>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3-10-12</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089945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F462BC7F-2338-4B3A-95AD-A880358D70D9}"/>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3-10-12</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894996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F97776BC-9198-4B58-90BB-4964DF0EC14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3-10-12</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7119067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1E92A6A6-8B0A-4DE1-8142-4259EB45C90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682952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5137440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149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8457DAEE-8716-FC16-0CE7-B6E25F6D1E63}"/>
              </a:ext>
            </a:extLst>
          </p:cNvPr>
          <p:cNvSpPr>
            <a:spLocks noGrp="1"/>
          </p:cNvSpPr>
          <p:nvPr>
            <p:ph type="title"/>
          </p:nvPr>
        </p:nvSpPr>
        <p:spPr>
          <a:xfrm>
            <a:off x="666000" y="2746800"/>
            <a:ext cx="9608400" cy="1965600"/>
          </a:xfrm>
        </p:spPr>
        <p:txBody>
          <a:bodyPr/>
          <a:lstStyle>
            <a:lvl1pPr algn="ctr">
              <a:defRPr sz="5400"/>
            </a:lvl1pPr>
          </a:lstStyle>
          <a:p>
            <a:r>
              <a:rPr lang="sv-SE" dirty="0"/>
              <a:t>Klicka här för att ändra mall för rubrikformat</a:t>
            </a:r>
            <a:endParaRPr lang="en-GB"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9687950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959356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4636993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242256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0551661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30901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F6B07FC5-EC85-B7B6-5E62-A7123BF77678}"/>
              </a:ext>
            </a:extLst>
          </p:cNvPr>
          <p:cNvSpPr>
            <a:spLocks noGrp="1"/>
          </p:cNvSpPr>
          <p:nvPr>
            <p:ph type="title"/>
          </p:nvPr>
        </p:nvSpPr>
        <p:spPr>
          <a:xfrm>
            <a:off x="666000" y="2746800"/>
            <a:ext cx="9608400" cy="1965600"/>
          </a:xfrm>
        </p:spPr>
        <p:txBody>
          <a:bodyPr/>
          <a:lstStyle>
            <a:lvl1pPr algn="ctr">
              <a:defRPr sz="5400"/>
            </a:lvl1pPr>
          </a:lstStyle>
          <a:p>
            <a:r>
              <a:rPr lang="sv-SE"/>
              <a:t>Klicka här för att ändra mall för rubrikformat</a:t>
            </a:r>
            <a:endParaRPr lang="en-GB"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7913099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051261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35203B53-9639-4137-43CB-AE840847929B}"/>
              </a:ext>
            </a:extLst>
          </p:cNvPr>
          <p:cNvSpPr>
            <a:spLocks noGrp="1"/>
          </p:cNvSpPr>
          <p:nvPr>
            <p:ph type="title"/>
          </p:nvPr>
        </p:nvSpPr>
        <p:spPr>
          <a:xfrm>
            <a:off x="666000" y="2746800"/>
            <a:ext cx="9608400" cy="1965600"/>
          </a:xfrm>
        </p:spPr>
        <p:txBody>
          <a:bodyPr/>
          <a:lstStyle>
            <a:lvl1pPr algn="ctr">
              <a:defRPr sz="5400"/>
            </a:lvl1pPr>
          </a:lstStyle>
          <a:p>
            <a:r>
              <a:rPr lang="sv-SE" dirty="0"/>
              <a:t>Klicka här för att ändra mall för rubrikformat</a:t>
            </a:r>
            <a:endParaRPr lang="en-GB"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660010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415071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316559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19439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49249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840619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190598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12056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F7716EBB-6F74-3CA5-4094-A2F442FE6339}"/>
              </a:ext>
            </a:extLst>
          </p:cNvPr>
          <p:cNvSpPr>
            <a:spLocks noGrp="1"/>
          </p:cNvSpPr>
          <p:nvPr>
            <p:ph type="title"/>
          </p:nvPr>
        </p:nvSpPr>
        <p:spPr>
          <a:xfrm>
            <a:off x="666000" y="2746800"/>
            <a:ext cx="9608400" cy="1965600"/>
          </a:xfrm>
        </p:spPr>
        <p:txBody>
          <a:bodyPr/>
          <a:lstStyle>
            <a:lvl1pPr algn="ctr">
              <a:defRPr sz="5400"/>
            </a:lvl1pPr>
          </a:lstStyle>
          <a:p>
            <a:r>
              <a:rPr lang="sv-SE" dirty="0"/>
              <a:t>Klicka här för att ändra mall för rubrikformat</a:t>
            </a:r>
            <a:endParaRPr lang="en-GB"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1064513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1960544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7501976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9926694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8518607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326655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p>
            <a:fld id="{2D0FFD79-647F-4E8F-9BDC-0F289429DB81}" type="datetime1">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7300954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p>
            <a:fld id="{355B9B65-E3B5-4EBD-948A-C701C0B90C43}" type="datetime1">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869732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vsnittsrubrik">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3247EC38-CF7B-DF2C-B84A-0019C2778DD3}"/>
              </a:ext>
            </a:extLst>
          </p:cNvPr>
          <p:cNvSpPr>
            <a:spLocks noGrp="1"/>
          </p:cNvSpPr>
          <p:nvPr>
            <p:ph type="title"/>
          </p:nvPr>
        </p:nvSpPr>
        <p:spPr>
          <a:xfrm>
            <a:off x="666000" y="2746800"/>
            <a:ext cx="9608400" cy="1965600"/>
          </a:xfrm>
        </p:spPr>
        <p:txBody>
          <a:bodyPr/>
          <a:lstStyle>
            <a:lvl1pPr algn="ctr">
              <a:defRPr sz="5400"/>
            </a:lvl1pPr>
          </a:lstStyle>
          <a:p>
            <a:r>
              <a:rPr lang="sv-SE"/>
              <a:t>Klicka här för att ändra mall för rubrikformat</a:t>
            </a:r>
            <a:endParaRPr lang="en-GB"/>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2D778B6E-7B51-447A-A9A6-E502287DE058}" type="datetime1">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3835816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5" name="Platshållare för datum 4"/>
          <p:cNvSpPr>
            <a:spLocks noGrp="1"/>
          </p:cNvSpPr>
          <p:nvPr>
            <p:ph type="dt" sz="half" idx="10"/>
          </p:nvPr>
        </p:nvSpPr>
        <p:spPr/>
        <p:txBody>
          <a:bodyPr/>
          <a:lstStyle/>
          <a:p>
            <a:fld id="{8F9D7BBF-4427-47B8-8D84-F4D4B91FFC14}" type="datetime1">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568375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5" name="Platshållare för datum 4"/>
          <p:cNvSpPr>
            <a:spLocks noGrp="1"/>
          </p:cNvSpPr>
          <p:nvPr>
            <p:ph type="dt" sz="half" idx="10"/>
          </p:nvPr>
        </p:nvSpPr>
        <p:spPr/>
        <p:txBody>
          <a:bodyPr/>
          <a:lstStyle/>
          <a:p>
            <a:fld id="{56F85CE0-98F2-4122-BAB4-5911D1CFF1B6}" type="datetime1">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736715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7" name="Platshållare för datum 6"/>
          <p:cNvSpPr>
            <a:spLocks noGrp="1"/>
          </p:cNvSpPr>
          <p:nvPr>
            <p:ph type="dt" sz="half" idx="10"/>
          </p:nvPr>
        </p:nvSpPr>
        <p:spPr/>
        <p:txBody>
          <a:bodyPr/>
          <a:lstStyle/>
          <a:p>
            <a:fld id="{193838FF-BF1F-4335-9F07-597DACA85B10}" type="datetime1">
              <a:rPr lang="sv-SE" smtClean="0"/>
              <a:t>2023-10-12</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6913577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3" name="Platshållare för datum 2"/>
          <p:cNvSpPr>
            <a:spLocks noGrp="1"/>
          </p:cNvSpPr>
          <p:nvPr>
            <p:ph type="dt" sz="half" idx="10"/>
          </p:nvPr>
        </p:nvSpPr>
        <p:spPr/>
        <p:txBody>
          <a:bodyPr/>
          <a:lstStyle/>
          <a:p>
            <a:fld id="{FB0D69ED-C2DB-4112-8F06-8A798E46E4BD}" type="datetime1">
              <a:rPr lang="sv-SE" smtClean="0"/>
              <a:t>2023-10-12</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9730813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2" name="Platshållare för datum 1"/>
          <p:cNvSpPr>
            <a:spLocks noGrp="1"/>
          </p:cNvSpPr>
          <p:nvPr>
            <p:ph type="dt" sz="half" idx="10"/>
          </p:nvPr>
        </p:nvSpPr>
        <p:spPr/>
        <p:txBody>
          <a:bodyPr/>
          <a:lstStyle/>
          <a:p>
            <a:fld id="{5553AD3A-E03E-46D1-ABC0-0C9FDF0F5E4F}" type="datetime1">
              <a:rPr lang="sv-SE" smtClean="0"/>
              <a:t>2023-10-12</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790493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9798949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862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8939782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86807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547364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6389462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9094460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0149580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9D86297D-2B0E-450A-8176-20B297D7F5B0}" type="datetime1">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a:extLst>
              <a:ext uri="{FF2B5EF4-FFF2-40B4-BE49-F238E27FC236}">
                <a16:creationId xmlns:a16="http://schemas.microsoft.com/office/drawing/2014/main" id="{DC4C474C-256C-4F69-82DB-E30D2C1C0985}"/>
              </a:ext>
              <a:ext uri="{C183D7F6-B498-43B3-948B-1728B52AA6E4}">
                <adec:decorative xmlns:adec="http://schemas.microsoft.com/office/drawing/2017/decorative" xmlns=""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899385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1ADA1F9B-CCF0-4D82-A120-69E88C498975}"/>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501A3911-B11F-4A39-B2DA-D5A8A121F24C}" type="datetime1">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4671218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F462BC7F-2338-4B3A-95AD-A880358D70D9}"/>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0826D8EF-FAF5-4862-8C22-19540851A3CB}" type="datetime1">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8921614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F97776BC-9198-4B58-90BB-4964DF0EC14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24380051-EC2A-49C9-B9DF-FA6C834E3576}" type="datetime1">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41572543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1E92A6A6-8B0A-4DE1-8142-4259EB45C908}"/>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CF675901-70FE-49D8-A93D-8276431AEF47}" type="datetime1">
              <a:rPr lang="sv-SE" smtClean="0"/>
              <a:t>2023-10-12</a:t>
            </a:fld>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4603144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44763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image" Target="../media/image2.png"/><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19.xml"/><Relationship Id="rId7" Type="http://schemas.openxmlformats.org/officeDocument/2006/relationships/image" Target="../media/image3.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3.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0.png"/><Relationship Id="rId4" Type="http://schemas.openxmlformats.org/officeDocument/2006/relationships/slideLayout" Target="../slideLayouts/slideLayout2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10" Type="http://schemas.openxmlformats.org/officeDocument/2006/relationships/image" Target="../media/image11.png"/><Relationship Id="rId4" Type="http://schemas.openxmlformats.org/officeDocument/2006/relationships/slideLayout" Target="../slideLayouts/slideLayout3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12.jpeg"/><Relationship Id="rId4" Type="http://schemas.openxmlformats.org/officeDocument/2006/relationships/slideLayout" Target="../slideLayouts/slideLayout4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10" Type="http://schemas.openxmlformats.org/officeDocument/2006/relationships/image" Target="../media/image1.png"/><Relationship Id="rId4" Type="http://schemas.openxmlformats.org/officeDocument/2006/relationships/slideLayout" Target="../slideLayouts/slideLayout57.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64.xml"/><Relationship Id="rId7" Type="http://schemas.openxmlformats.org/officeDocument/2006/relationships/image" Target="../media/image3.emf"/><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9.xml"/><Relationship Id="rId5" Type="http://schemas.openxmlformats.org/officeDocument/2006/relationships/slideLayout" Target="../slideLayouts/slideLayout66.xml"/><Relationship Id="rId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072F52CF-ACCF-4081-B692-24F867555F2D}"/>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13016064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3-10-12</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16" r:id="rId1"/>
    <p:sldLayoutId id="2147483684" r:id="rId2"/>
    <p:sldLayoutId id="2147483685" r:id="rId3"/>
    <p:sldLayoutId id="2147483714" r:id="rId4"/>
    <p:sldLayoutId id="2147483715"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E89248C0-A8F4-4340-A64C-DEF74DCCB7E9}"/>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89981931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pic>
        <p:nvPicPr>
          <p:cNvPr id="8" name="Bildobjekt 7">
            <a:extLst>
              <a:ext uri="{FF2B5EF4-FFF2-40B4-BE49-F238E27FC236}">
                <a16:creationId xmlns:a16="http://schemas.microsoft.com/office/drawing/2014/main" id="{6B2614CC-7ACB-4FDF-886D-94F77526C7EF}"/>
              </a:ext>
              <a:ext uri="{C183D7F6-B498-43B3-948B-1728B52AA6E4}">
                <adec:decorative xmlns:adec="http://schemas.microsoft.com/office/drawing/2017/decorative" xmlns="" val="1"/>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2017269344"/>
      </p:ext>
    </p:extLst>
  </p:cSld>
  <p:clrMap bg1="dk1" tx1="lt1" bg2="dk2" tx2="lt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8420EEB1-80E0-4243-AAA6-40D671C3359A}"/>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cxnSp>
        <p:nvCxnSpPr>
          <p:cNvPr id="10" name="Rak koppling 9">
            <a:extLst>
              <a:ext uri="{FF2B5EF4-FFF2-40B4-BE49-F238E27FC236}">
                <a16:creationId xmlns:a16="http://schemas.microsoft.com/office/drawing/2014/main" id="{A7BC3E9A-336E-4FA4-891B-A73729A1A1B4}"/>
              </a:ext>
              <a:ext uri="{C183D7F6-B498-43B3-948B-1728B52AA6E4}">
                <adec:decorative xmlns:adec="http://schemas.microsoft.com/office/drawing/2017/decorative" xmlns="" val="1"/>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1134289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072F52CF-ACCF-4081-B692-24F867555F2D}"/>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3132B8B1-BCE8-491D-997B-8BA153FE8F26}" type="datetime1">
              <a:rPr lang="sv-SE" smtClean="0"/>
              <a:t>2023-10-12</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418694583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adec="http://schemas.microsoft.com/office/drawing/2017/decorative" xmlns=""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3-10-12</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0808832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508C1CDD-F15E-417A-BEFE-43C0B3DD8BAA}" type="datetime1">
              <a:rPr lang="sv-SE" smtClean="0"/>
              <a:t>2023-10-12</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r>
              <a:rPr lang="sv-SE"/>
              <a:t>Avdelningen för vård och omsorg</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44380734"/>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hf hdr="0"/>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4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5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9.xml"/><Relationship Id="rId1" Type="http://schemas.openxmlformats.org/officeDocument/2006/relationships/slideLayout" Target="../slideLayouts/slideLayout4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0.xml"/><Relationship Id="rId1" Type="http://schemas.openxmlformats.org/officeDocument/2006/relationships/slideLayout" Target="../slideLayouts/slideLayout4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4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85DBB7F-B844-5F5C-E801-9C596902BFFB}"/>
              </a:ext>
            </a:extLst>
          </p:cNvPr>
          <p:cNvSpPr>
            <a:spLocks noGrp="1"/>
          </p:cNvSpPr>
          <p:nvPr>
            <p:ph type="title"/>
          </p:nvPr>
        </p:nvSpPr>
        <p:spPr>
          <a:xfrm>
            <a:off x="666000" y="2747963"/>
            <a:ext cx="9608400" cy="2705385"/>
          </a:xfrm>
        </p:spPr>
        <p:txBody>
          <a:bodyPr/>
          <a:lstStyle/>
          <a:p>
            <a:r>
              <a:rPr lang="sv-SE" sz="3800" dirty="0"/>
              <a:t>Information om SKR:s </a:t>
            </a:r>
            <a:r>
              <a:rPr lang="sv-SE" sz="3800" i="1" dirty="0"/>
              <a:t>pågående</a:t>
            </a:r>
            <a:r>
              <a:rPr lang="sv-SE" sz="3800" dirty="0"/>
              <a:t> undersökning om socionomprogrammet</a:t>
            </a:r>
            <a:r>
              <a:rPr lang="sv-SE" sz="4000" dirty="0"/>
              <a:t/>
            </a:r>
            <a:br>
              <a:rPr lang="sv-SE" sz="4000" dirty="0"/>
            </a:br>
            <a:endParaRPr lang="sv-SE" sz="4000" dirty="0"/>
          </a:p>
        </p:txBody>
      </p:sp>
      <p:sp>
        <p:nvSpPr>
          <p:cNvPr id="3" name="Platshållare för sidfot 2">
            <a:extLst>
              <a:ext uri="{FF2B5EF4-FFF2-40B4-BE49-F238E27FC236}">
                <a16:creationId xmlns:a16="http://schemas.microsoft.com/office/drawing/2014/main" id="{2F81F872-6400-088A-FD1D-6652016FBA3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Platshållare för datum 3">
            <a:extLst>
              <a:ext uri="{FF2B5EF4-FFF2-40B4-BE49-F238E27FC236}">
                <a16:creationId xmlns:a16="http://schemas.microsoft.com/office/drawing/2014/main" id="{7C746B40-CCE2-2550-A448-90A4D48CEE1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1A3911-B11F-4A39-B2DA-D5A8A121F24C}" type="datetime1">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8368CBDF-5884-3E10-7784-B184147BC6B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ruta 6">
            <a:extLst>
              <a:ext uri="{FF2B5EF4-FFF2-40B4-BE49-F238E27FC236}">
                <a16:creationId xmlns:a16="http://schemas.microsoft.com/office/drawing/2014/main" id="{2B707DFA-AA1B-7220-9B6E-6BEB09BFF6BD}"/>
              </a:ext>
            </a:extLst>
          </p:cNvPr>
          <p:cNvSpPr txBox="1"/>
          <p:nvPr/>
        </p:nvSpPr>
        <p:spPr>
          <a:xfrm>
            <a:off x="2578291" y="4646801"/>
            <a:ext cx="6096000"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sv-SE" i="1" dirty="0">
                <a:solidFill>
                  <a:prstClr val="white"/>
                </a:solidFill>
                <a:latin typeface="Calibri" panose="020F0502020204030204" pitchFamily="34" charset="0"/>
                <a:ea typeface="Calibri" panose="020F0502020204030204" pitchFamily="34" charset="0"/>
                <a:cs typeface="Times New Roman" panose="02020603050405020304" pitchFamily="18" charset="0"/>
              </a:rPr>
              <a:t>Gemensamt möte med NSK-S och RSS-nätverken oktober </a:t>
            </a:r>
            <a:r>
              <a:rPr kumimoji="0" lang="sv-SE" sz="1800" b="0" i="1"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2023, Helena Wiklund, SKR</a:t>
            </a:r>
          </a:p>
        </p:txBody>
      </p:sp>
    </p:spTree>
    <p:extLst>
      <p:ext uri="{BB962C8B-B14F-4D97-AF65-F5344CB8AC3E}">
        <p14:creationId xmlns:p14="http://schemas.microsoft.com/office/powerpoint/2010/main" val="19366753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A3F97E29-D863-15D8-D52E-A81C50897506}"/>
              </a:ext>
            </a:extLst>
          </p:cNvPr>
          <p:cNvSpPr>
            <a:spLocks noGrp="1"/>
          </p:cNvSpPr>
          <p:nvPr>
            <p:ph idx="1"/>
          </p:nvPr>
        </p:nvSpPr>
        <p:spPr>
          <a:xfrm>
            <a:off x="664232" y="1950672"/>
            <a:ext cx="9609825" cy="3738598"/>
          </a:xfrm>
        </p:spPr>
        <p:txBody>
          <a:bodyPr/>
          <a:lstStyle/>
          <a:p>
            <a:pPr marL="30163" indent="0">
              <a:buNone/>
            </a:pPr>
            <a:r>
              <a:rPr lang="sv-SE" dirty="0"/>
              <a:t>Frågorna försökte fånga in/utgå ifrån:</a:t>
            </a:r>
          </a:p>
          <a:p>
            <a:pPr lvl="1">
              <a:buFont typeface="Wingdings" panose="05000000000000000000" pitchFamily="2" charset="2"/>
              <a:buChar char="§"/>
            </a:pPr>
            <a:r>
              <a:rPr lang="sv-SE" dirty="0"/>
              <a:t>Socionomprogrammet så som det är utformat idag (inte för några år sedan)</a:t>
            </a:r>
          </a:p>
          <a:p>
            <a:pPr lvl="1">
              <a:buFont typeface="Wingdings" panose="05000000000000000000" pitchFamily="2" charset="2"/>
              <a:buChar char="§"/>
            </a:pPr>
            <a:r>
              <a:rPr lang="sv-SE" dirty="0"/>
              <a:t>Målgruppen </a:t>
            </a:r>
            <a:r>
              <a:rPr lang="sv-SE" i="1" dirty="0"/>
              <a:t>relativt nyutexaminerade socionomer med socionomexamen </a:t>
            </a:r>
            <a:r>
              <a:rPr lang="sv-SE" dirty="0"/>
              <a:t>(inte de som har gått vidareutbildningar och inte de som har arbetat längre än 2 år i yrket)</a:t>
            </a:r>
          </a:p>
          <a:p>
            <a:pPr lvl="1">
              <a:buFont typeface="Wingdings" panose="05000000000000000000" pitchFamily="2" charset="2"/>
              <a:buChar char="§"/>
            </a:pPr>
            <a:r>
              <a:rPr lang="sv-SE" dirty="0"/>
              <a:t>Socionomer inom </a:t>
            </a:r>
            <a:r>
              <a:rPr lang="sv-SE" b="1" dirty="0"/>
              <a:t>socialtjänstens </a:t>
            </a:r>
            <a:r>
              <a:rPr lang="sv-SE" dirty="0"/>
              <a:t>verksamhetsområden (IFO inklusive arbetsmarknadsinsatser och försörjningsstöd, äldre och Funk) och inte socionomer inom andra områden inom kommunen såsom ex vis inom elevhälsan</a:t>
            </a:r>
          </a:p>
        </p:txBody>
      </p:sp>
      <p:sp>
        <p:nvSpPr>
          <p:cNvPr id="3" name="Rubrik 2">
            <a:extLst>
              <a:ext uri="{FF2B5EF4-FFF2-40B4-BE49-F238E27FC236}">
                <a16:creationId xmlns:a16="http://schemas.microsoft.com/office/drawing/2014/main" id="{AF52E050-BFB1-284E-D8FD-3DA9390F8E7E}"/>
              </a:ext>
            </a:extLst>
          </p:cNvPr>
          <p:cNvSpPr>
            <a:spLocks noGrp="1"/>
          </p:cNvSpPr>
          <p:nvPr>
            <p:ph type="title"/>
          </p:nvPr>
        </p:nvSpPr>
        <p:spPr/>
        <p:txBody>
          <a:bodyPr/>
          <a:lstStyle/>
          <a:p>
            <a:r>
              <a:rPr lang="sv-SE" dirty="0"/>
              <a:t>Avgränsningar</a:t>
            </a:r>
          </a:p>
        </p:txBody>
      </p:sp>
      <p:sp>
        <p:nvSpPr>
          <p:cNvPr id="4" name="Platshållare för datum 3">
            <a:extLst>
              <a:ext uri="{FF2B5EF4-FFF2-40B4-BE49-F238E27FC236}">
                <a16:creationId xmlns:a16="http://schemas.microsoft.com/office/drawing/2014/main" id="{84853D9B-D607-882D-5C2F-FBF8B55CADE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92098D2-304D-429A-8E8E-3D9FFCB81119}"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655B2E72-B433-78F8-D5AA-EAC8556EC1F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DE04E0D8-EA7B-AC70-6CF1-D779C3516C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809549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a:extLst>
              <a:ext uri="{FF2B5EF4-FFF2-40B4-BE49-F238E27FC236}">
                <a16:creationId xmlns:a16="http://schemas.microsoft.com/office/drawing/2014/main" id="{7B52FE46-3703-8AC8-0C36-E658A280C1CC}"/>
              </a:ext>
            </a:extLst>
          </p:cNvPr>
          <p:cNvPicPr>
            <a:picLocks noChangeAspect="1"/>
          </p:cNvPicPr>
          <p:nvPr/>
        </p:nvPicPr>
        <p:blipFill>
          <a:blip r:embed="rId3"/>
          <a:stretch>
            <a:fillRect/>
          </a:stretch>
        </p:blipFill>
        <p:spPr>
          <a:xfrm>
            <a:off x="249759" y="694063"/>
            <a:ext cx="10284891" cy="4811387"/>
          </a:xfrm>
          <a:prstGeom prst="rect">
            <a:avLst/>
          </a:prstGeom>
        </p:spPr>
      </p:pic>
      <p:sp>
        <p:nvSpPr>
          <p:cNvPr id="3" name="Platshållare för datum 2">
            <a:extLst>
              <a:ext uri="{FF2B5EF4-FFF2-40B4-BE49-F238E27FC236}">
                <a16:creationId xmlns:a16="http://schemas.microsoft.com/office/drawing/2014/main" id="{4E63CF21-A108-E179-9DC8-FC7AAE4FC88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36EA88F-4A96-4531-B981-3600C85D8D80}"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a:extLst>
              <a:ext uri="{FF2B5EF4-FFF2-40B4-BE49-F238E27FC236}">
                <a16:creationId xmlns:a16="http://schemas.microsoft.com/office/drawing/2014/main" id="{ECD1DDE7-86FE-6FDB-DFF8-FB81D6CA12D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DD59A3B4-C996-69D1-FB8C-B8B82070DBF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557492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BF7C56B-604C-4529-8117-F2156CC90591}"/>
              </a:ext>
            </a:extLst>
          </p:cNvPr>
          <p:cNvSpPr>
            <a:spLocks noGrp="1"/>
          </p:cNvSpPr>
          <p:nvPr>
            <p:ph type="title"/>
          </p:nvPr>
        </p:nvSpPr>
        <p:spPr/>
        <p:txBody>
          <a:bodyPr/>
          <a:lstStyle/>
          <a:p>
            <a:r>
              <a:rPr lang="sv-SE" sz="4400" dirty="0"/>
              <a:t>Behov som har synliggjorts i fokusgrupperna</a:t>
            </a:r>
          </a:p>
        </p:txBody>
      </p:sp>
      <p:sp>
        <p:nvSpPr>
          <p:cNvPr id="4" name="Platshållare för sidfot 3">
            <a:extLst>
              <a:ext uri="{FF2B5EF4-FFF2-40B4-BE49-F238E27FC236}">
                <a16:creationId xmlns:a16="http://schemas.microsoft.com/office/drawing/2014/main" id="{B81B1F97-6C9A-3951-7B9F-1CF8195DB9E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521E5DB0-8A95-5E1A-C919-A4C25EDFEEE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D778B6E-7B51-447A-A9A6-E502287DE058}"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451B0D2F-C55C-28B6-2AF8-E6FC5ABE23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16059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B55D01B-C9A8-FF00-951D-F850F837089A}"/>
              </a:ext>
            </a:extLst>
          </p:cNvPr>
          <p:cNvSpPr>
            <a:spLocks noGrp="1"/>
          </p:cNvSpPr>
          <p:nvPr>
            <p:ph type="title"/>
          </p:nvPr>
        </p:nvSpPr>
        <p:spPr/>
        <p:txBody>
          <a:bodyPr/>
          <a:lstStyle/>
          <a:p>
            <a:r>
              <a:rPr lang="sv-SE" dirty="0"/>
              <a:t>Sammanfattning </a:t>
            </a:r>
            <a:endParaRPr lang="sv-SE" dirty="0">
              <a:highlight>
                <a:srgbClr val="FFFF00"/>
              </a:highlight>
            </a:endParaRPr>
          </a:p>
        </p:txBody>
      </p:sp>
      <p:sp>
        <p:nvSpPr>
          <p:cNvPr id="3" name="Platshållare för innehåll 2">
            <a:extLst>
              <a:ext uri="{FF2B5EF4-FFF2-40B4-BE49-F238E27FC236}">
                <a16:creationId xmlns:a16="http://schemas.microsoft.com/office/drawing/2014/main" id="{644A2041-4663-1FB8-62D9-BD23AC7FB319}"/>
              </a:ext>
            </a:extLst>
          </p:cNvPr>
          <p:cNvSpPr>
            <a:spLocks noGrp="1"/>
          </p:cNvSpPr>
          <p:nvPr>
            <p:ph idx="1"/>
          </p:nvPr>
        </p:nvSpPr>
        <p:spPr>
          <a:xfrm>
            <a:off x="664233" y="2258779"/>
            <a:ext cx="9609825" cy="3944786"/>
          </a:xfrm>
        </p:spPr>
        <p:txBody>
          <a:bodyPr/>
          <a:lstStyle/>
          <a:p>
            <a:pPr>
              <a:buFont typeface="Wingdings" panose="05000000000000000000" pitchFamily="2" charset="2"/>
              <a:buChar char="§"/>
            </a:pPr>
            <a:r>
              <a:rPr lang="sv-SE" sz="2000" dirty="0"/>
              <a:t>Socionomprogrammet behöver utvecklas och förbättras för att bättre än idag förbereda socionomer för ett arbete inom socialtjänsten </a:t>
            </a:r>
          </a:p>
          <a:p>
            <a:pPr>
              <a:buFont typeface="Wingdings" panose="05000000000000000000" pitchFamily="2" charset="2"/>
              <a:buChar char="§"/>
            </a:pPr>
            <a:r>
              <a:rPr lang="sv-SE" sz="2000" dirty="0"/>
              <a:t>Socionomprogrammet bör varva teori och praktik på ett tydligare sätt än idag och möjlighet till att praktisera teori under hela utbildningen och under VFU behöver stärkas</a:t>
            </a:r>
          </a:p>
          <a:p>
            <a:pPr>
              <a:buFont typeface="Wingdings" panose="05000000000000000000" pitchFamily="2" charset="2"/>
              <a:buChar char="§"/>
            </a:pPr>
            <a:r>
              <a:rPr lang="sv-SE" sz="2000" dirty="0"/>
              <a:t>Verklighets- och verksamhetsförankring saknas i stor utsträckning</a:t>
            </a:r>
          </a:p>
          <a:p>
            <a:pPr>
              <a:buFont typeface="Wingdings" panose="05000000000000000000" pitchFamily="2" charset="2"/>
              <a:buChar char="§"/>
            </a:pPr>
            <a:r>
              <a:rPr lang="sv-SE" sz="2000" dirty="0"/>
              <a:t>Det verkar vara stora skillnader på de 19 lärosätenas utbildningar – de bör bli mer lika</a:t>
            </a:r>
          </a:p>
          <a:p>
            <a:pPr marL="30163" indent="0">
              <a:buNone/>
            </a:pPr>
            <a:endParaRPr lang="sv-SE" sz="2000" dirty="0"/>
          </a:p>
          <a:p>
            <a:endParaRPr lang="sv-SE" sz="2000" dirty="0"/>
          </a:p>
          <a:p>
            <a:endParaRPr lang="sv-SE" sz="1600" dirty="0"/>
          </a:p>
          <a:p>
            <a:endParaRPr lang="sv-SE" sz="1600" dirty="0"/>
          </a:p>
          <a:p>
            <a:endParaRPr lang="sv-SE" sz="1600" dirty="0"/>
          </a:p>
          <a:p>
            <a:endParaRPr lang="sv-SE" sz="1600" dirty="0"/>
          </a:p>
          <a:p>
            <a:endParaRPr lang="sv-SE" sz="1600" dirty="0"/>
          </a:p>
          <a:p>
            <a:endParaRPr lang="sv-SE" sz="1600" dirty="0"/>
          </a:p>
          <a:p>
            <a:endParaRPr lang="sv-SE" sz="1600" dirty="0"/>
          </a:p>
          <a:p>
            <a:endParaRPr lang="sv-SE" sz="1600" dirty="0"/>
          </a:p>
        </p:txBody>
      </p:sp>
      <p:sp>
        <p:nvSpPr>
          <p:cNvPr id="4" name="Platshållare för sidfot 3">
            <a:extLst>
              <a:ext uri="{FF2B5EF4-FFF2-40B4-BE49-F238E27FC236}">
                <a16:creationId xmlns:a16="http://schemas.microsoft.com/office/drawing/2014/main" id="{01C2A8BF-B0A3-B896-960A-E77F936772D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EFBC1111-C51F-A4DB-29FE-67A3FFAB82B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5E0A1F-D67A-4033-AE7B-9EE70ADD33BB}"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73805776-20A2-CE0A-A5B4-4F133F0584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68508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161F0EF-B451-06C4-FBB0-E4463728F5E2}"/>
              </a:ext>
            </a:extLst>
          </p:cNvPr>
          <p:cNvSpPr>
            <a:spLocks noGrp="1"/>
          </p:cNvSpPr>
          <p:nvPr>
            <p:ph type="title"/>
          </p:nvPr>
        </p:nvSpPr>
        <p:spPr/>
        <p:txBody>
          <a:bodyPr/>
          <a:lstStyle/>
          <a:p>
            <a:r>
              <a:rPr lang="sv-SE" dirty="0"/>
              <a:t>Sammanfattning i sin enkelhet</a:t>
            </a:r>
          </a:p>
        </p:txBody>
      </p:sp>
      <p:graphicFrame>
        <p:nvGraphicFramePr>
          <p:cNvPr id="8" name="Platshållare för innehåll 7">
            <a:extLst>
              <a:ext uri="{FF2B5EF4-FFF2-40B4-BE49-F238E27FC236}">
                <a16:creationId xmlns:a16="http://schemas.microsoft.com/office/drawing/2014/main" id="{E4EBA587-A4BC-4FB1-BDF4-92B9A7C0A84B}"/>
              </a:ext>
            </a:extLst>
          </p:cNvPr>
          <p:cNvGraphicFramePr>
            <a:graphicFrameLocks noGrp="1"/>
          </p:cNvGraphicFramePr>
          <p:nvPr>
            <p:ph idx="1"/>
            <p:extLst>
              <p:ext uri="{D42A27DB-BD31-4B8C-83A1-F6EECF244321}">
                <p14:modId xmlns:p14="http://schemas.microsoft.com/office/powerpoint/2010/main" val="1322241111"/>
              </p:ext>
            </p:extLst>
          </p:nvPr>
        </p:nvGraphicFramePr>
        <p:xfrm>
          <a:off x="663575" y="2105994"/>
          <a:ext cx="9616258" cy="41281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latshållare för sidfot 3">
            <a:extLst>
              <a:ext uri="{FF2B5EF4-FFF2-40B4-BE49-F238E27FC236}">
                <a16:creationId xmlns:a16="http://schemas.microsoft.com/office/drawing/2014/main" id="{BCD1FF82-9B0D-6FC8-A615-2444E1EC338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5CD71AB9-1032-3A5A-3D83-554E32342FB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5E0A1F-D67A-4033-AE7B-9EE70ADD33BB}"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4FCB1346-77DB-FB2B-96E8-38999D568EA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Flödesschema: Begränsare 2">
            <a:extLst>
              <a:ext uri="{FF2B5EF4-FFF2-40B4-BE49-F238E27FC236}">
                <a16:creationId xmlns:a16="http://schemas.microsoft.com/office/drawing/2014/main" id="{9EA216DB-1D58-D031-85F8-3651BE933842}"/>
              </a:ext>
            </a:extLst>
          </p:cNvPr>
          <p:cNvSpPr/>
          <p:nvPr/>
        </p:nvSpPr>
        <p:spPr>
          <a:xfrm>
            <a:off x="9594192" y="752365"/>
            <a:ext cx="1933575" cy="990710"/>
          </a:xfrm>
          <a:prstGeom prst="flowChartTerminator">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5/5 eller 4/5 fokusgrupper har lyft detta</a:t>
            </a:r>
          </a:p>
        </p:txBody>
      </p:sp>
    </p:spTree>
    <p:extLst>
      <p:ext uri="{BB962C8B-B14F-4D97-AF65-F5344CB8AC3E}">
        <p14:creationId xmlns:p14="http://schemas.microsoft.com/office/powerpoint/2010/main" val="1005016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0793EA-1E10-9B64-A5D3-3B396F7041DE}"/>
              </a:ext>
            </a:extLst>
          </p:cNvPr>
          <p:cNvSpPr>
            <a:spLocks noGrp="1"/>
          </p:cNvSpPr>
          <p:nvPr>
            <p:ph type="title"/>
          </p:nvPr>
        </p:nvSpPr>
        <p:spPr/>
        <p:txBody>
          <a:bodyPr/>
          <a:lstStyle/>
          <a:p>
            <a:r>
              <a:rPr lang="sv-SE" sz="4400" dirty="0"/>
              <a:t>Behov av kunskap och färdigheter som idag uppfylls</a:t>
            </a:r>
            <a:br>
              <a:rPr lang="sv-SE" sz="4400" dirty="0"/>
            </a:br>
            <a:endParaRPr lang="sv-SE" sz="4400" dirty="0"/>
          </a:p>
        </p:txBody>
      </p:sp>
      <p:sp>
        <p:nvSpPr>
          <p:cNvPr id="4" name="Platshållare för sidfot 3">
            <a:extLst>
              <a:ext uri="{FF2B5EF4-FFF2-40B4-BE49-F238E27FC236}">
                <a16:creationId xmlns:a16="http://schemas.microsoft.com/office/drawing/2014/main" id="{4FB4746C-25F3-19A9-DFB9-062EF6355E1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1029FE30-8F89-2BB9-FDE8-CFDC4BBB92B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D778B6E-7B51-447A-A9A6-E502287DE058}"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2E825624-01ED-9F28-FAA0-1A2C9A9E9EE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92244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4E6ECAC-3A9D-5DA6-66C3-0E64C6CCC2B3}"/>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4086E368-E9CF-9D33-D6C2-5F7034C295E7}"/>
              </a:ext>
            </a:extLst>
          </p:cNvPr>
          <p:cNvSpPr>
            <a:spLocks noGrp="1"/>
          </p:cNvSpPr>
          <p:nvPr>
            <p:ph idx="1"/>
          </p:nvPr>
        </p:nvSpPr>
        <p:spPr/>
        <p:txBody>
          <a:bodyPr/>
          <a:lstStyle/>
          <a:p>
            <a:endParaRPr lang="sv-SE"/>
          </a:p>
        </p:txBody>
      </p:sp>
      <p:pic>
        <p:nvPicPr>
          <p:cNvPr id="4" name="Bildobjekt 3">
            <a:extLst>
              <a:ext uri="{FF2B5EF4-FFF2-40B4-BE49-F238E27FC236}">
                <a16:creationId xmlns:a16="http://schemas.microsoft.com/office/drawing/2014/main" id="{19994B2C-D723-5197-08B2-42BB72636EFD}"/>
              </a:ext>
            </a:extLst>
          </p:cNvPr>
          <p:cNvPicPr>
            <a:picLocks noChangeAspect="1"/>
          </p:cNvPicPr>
          <p:nvPr/>
        </p:nvPicPr>
        <p:blipFill>
          <a:blip r:embed="rId3"/>
          <a:stretch>
            <a:fillRect/>
          </a:stretch>
        </p:blipFill>
        <p:spPr>
          <a:xfrm>
            <a:off x="572383" y="694063"/>
            <a:ext cx="9928930" cy="4916162"/>
          </a:xfrm>
          <a:prstGeom prst="rect">
            <a:avLst/>
          </a:prstGeom>
        </p:spPr>
      </p:pic>
      <p:sp>
        <p:nvSpPr>
          <p:cNvPr id="5" name="Platshållare för datum 4">
            <a:extLst>
              <a:ext uri="{FF2B5EF4-FFF2-40B4-BE49-F238E27FC236}">
                <a16:creationId xmlns:a16="http://schemas.microsoft.com/office/drawing/2014/main" id="{8F6458BB-E1F6-889B-62A4-2FBD58D0B2C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D2298F5-C839-4F3B-B6A3-7217A447A0B8}"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a:extLst>
              <a:ext uri="{FF2B5EF4-FFF2-40B4-BE49-F238E27FC236}">
                <a16:creationId xmlns:a16="http://schemas.microsoft.com/office/drawing/2014/main" id="{D8FA55A7-2D53-59C6-9D5F-E4258E3B0A3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256393EB-A654-002F-15D4-FFCF3DB390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395197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sidfot 2">
            <a:extLst>
              <a:ext uri="{FF2B5EF4-FFF2-40B4-BE49-F238E27FC236}">
                <a16:creationId xmlns:a16="http://schemas.microsoft.com/office/drawing/2014/main" id="{8041356B-C001-2205-FA9E-DEB2C256137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datum 3">
            <a:extLst>
              <a:ext uri="{FF2B5EF4-FFF2-40B4-BE49-F238E27FC236}">
                <a16:creationId xmlns:a16="http://schemas.microsoft.com/office/drawing/2014/main" id="{B2AA6C71-0CE4-A20B-F595-618CC4DBBF4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7F56507-AD13-407D-99ED-392AAF53A6F9}"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F59B53FB-2D46-9B3F-54C8-B9E61CDF731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Rubrik 1">
            <a:extLst>
              <a:ext uri="{FF2B5EF4-FFF2-40B4-BE49-F238E27FC236}">
                <a16:creationId xmlns:a16="http://schemas.microsoft.com/office/drawing/2014/main" id="{FB5F6D8F-3C11-E384-962C-672E2CA0E37C}"/>
              </a:ext>
            </a:extLst>
          </p:cNvPr>
          <p:cNvSpPr>
            <a:spLocks noGrp="1"/>
          </p:cNvSpPr>
          <p:nvPr>
            <p:ph type="title"/>
          </p:nvPr>
        </p:nvSpPr>
        <p:spPr>
          <a:xfrm>
            <a:off x="664232" y="874602"/>
            <a:ext cx="10480017" cy="1231392"/>
          </a:xfrm>
        </p:spPr>
        <p:txBody>
          <a:bodyPr/>
          <a:lstStyle/>
          <a:p>
            <a:r>
              <a:rPr lang="sv-SE" sz="3600" dirty="0"/>
              <a:t>Fokusgrupperna uttrycker nöjdhet kring… </a:t>
            </a:r>
            <a:br>
              <a:rPr lang="sv-SE" sz="3600" dirty="0"/>
            </a:br>
            <a:r>
              <a:rPr lang="sv-SE" sz="2400" b="0" dirty="0">
                <a:latin typeface="Arial" panose="020B0604020202020204" pitchFamily="34" charset="0"/>
                <a:ea typeface="MS Gothic" panose="020B0609070205080204" pitchFamily="49" charset="-128"/>
                <a:cs typeface="Times New Roman" panose="02020603050405020304" pitchFamily="18" charset="0"/>
              </a:rPr>
              <a:t/>
            </a:r>
            <a:br>
              <a:rPr lang="sv-SE" sz="2400" b="0" dirty="0">
                <a:latin typeface="Arial" panose="020B0604020202020204" pitchFamily="34" charset="0"/>
                <a:ea typeface="MS Gothic" panose="020B0609070205080204" pitchFamily="49" charset="-128"/>
                <a:cs typeface="Times New Roman" panose="02020603050405020304" pitchFamily="18" charset="0"/>
              </a:rPr>
            </a:br>
            <a:r>
              <a:rPr lang="sv-SE" sz="2000" b="0" dirty="0">
                <a:latin typeface="Arial" panose="020B0604020202020204" pitchFamily="34" charset="0"/>
                <a:ea typeface="MS Gothic" panose="020B0609070205080204" pitchFamily="49" charset="-128"/>
                <a:cs typeface="Times New Roman" panose="02020603050405020304" pitchFamily="18" charset="0"/>
              </a:rPr>
              <a:t>Kunskap och färdigheter som delvis uppfylls idag av nuvarande socionomprogram och som bör bibehållas</a:t>
            </a:r>
            <a:endParaRPr lang="sv-SE" sz="2000" b="0" dirty="0"/>
          </a:p>
        </p:txBody>
      </p:sp>
      <p:graphicFrame>
        <p:nvGraphicFramePr>
          <p:cNvPr id="2" name="Platshållare för innehåll 6">
            <a:extLst>
              <a:ext uri="{FF2B5EF4-FFF2-40B4-BE49-F238E27FC236}">
                <a16:creationId xmlns:a16="http://schemas.microsoft.com/office/drawing/2014/main" id="{B4B26571-B8F2-95EF-4C1F-4344F73C17B7}"/>
              </a:ext>
            </a:extLst>
          </p:cNvPr>
          <p:cNvGraphicFramePr>
            <a:graphicFrameLocks/>
          </p:cNvGraphicFramePr>
          <p:nvPr/>
        </p:nvGraphicFramePr>
        <p:xfrm>
          <a:off x="663575" y="2495550"/>
          <a:ext cx="9610725" cy="3738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8476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D20840-7A7F-180D-24E7-B5AF475D1042}"/>
              </a:ext>
            </a:extLst>
          </p:cNvPr>
          <p:cNvSpPr>
            <a:spLocks noGrp="1"/>
          </p:cNvSpPr>
          <p:nvPr>
            <p:ph type="title"/>
          </p:nvPr>
        </p:nvSpPr>
        <p:spPr/>
        <p:txBody>
          <a:bodyPr/>
          <a:lstStyle/>
          <a:p>
            <a:r>
              <a:rPr lang="sv-SE" sz="3600" dirty="0"/>
              <a:t>Undersökningen fokuserar på socionomprogrammet - grundnivån</a:t>
            </a:r>
          </a:p>
        </p:txBody>
      </p:sp>
      <p:sp>
        <p:nvSpPr>
          <p:cNvPr id="3" name="Platshållare för text 2">
            <a:extLst>
              <a:ext uri="{FF2B5EF4-FFF2-40B4-BE49-F238E27FC236}">
                <a16:creationId xmlns:a16="http://schemas.microsoft.com/office/drawing/2014/main" id="{666C6512-0478-E808-7F01-E87A9C7EC49B}"/>
              </a:ext>
            </a:extLst>
          </p:cNvPr>
          <p:cNvSpPr>
            <a:spLocks noGrp="1"/>
          </p:cNvSpPr>
          <p:nvPr>
            <p:ph type="body" idx="1"/>
          </p:nvPr>
        </p:nvSpPr>
        <p:spPr/>
        <p:txBody>
          <a:bodyPr/>
          <a:lstStyle/>
          <a:p>
            <a:r>
              <a:rPr lang="sv-SE" dirty="0"/>
              <a:t>Vad mer kan påverka att en socionom examineras och stannar kvar i yrket?</a:t>
            </a:r>
          </a:p>
        </p:txBody>
      </p:sp>
      <p:sp>
        <p:nvSpPr>
          <p:cNvPr id="4" name="Platshållare för sidfot 3">
            <a:extLst>
              <a:ext uri="{FF2B5EF4-FFF2-40B4-BE49-F238E27FC236}">
                <a16:creationId xmlns:a16="http://schemas.microsoft.com/office/drawing/2014/main" id="{160E08C7-0ABA-AE50-7C95-03E8B76CFAE0}"/>
              </a:ext>
            </a:extLst>
          </p:cNvPr>
          <p:cNvSpPr>
            <a:spLocks noGrp="1"/>
          </p:cNvSpPr>
          <p:nvPr>
            <p:ph type="ftr" sz="quarter" idx="11"/>
          </p:nvPr>
        </p:nvSpPr>
        <p:spPr/>
        <p:txBody>
          <a:bodyPr/>
          <a:lstStyle/>
          <a:p>
            <a:r>
              <a:rPr lang="sv-SE"/>
              <a:t>Avdelningen för vård och omsorg</a:t>
            </a:r>
            <a:endParaRPr lang="sv-SE" dirty="0"/>
          </a:p>
        </p:txBody>
      </p:sp>
      <p:sp>
        <p:nvSpPr>
          <p:cNvPr id="5" name="Platshållare för datum 4">
            <a:extLst>
              <a:ext uri="{FF2B5EF4-FFF2-40B4-BE49-F238E27FC236}">
                <a16:creationId xmlns:a16="http://schemas.microsoft.com/office/drawing/2014/main" id="{0F857CFE-F223-373C-8A8F-54072FF98C0D}"/>
              </a:ext>
            </a:extLst>
          </p:cNvPr>
          <p:cNvSpPr>
            <a:spLocks noGrp="1"/>
          </p:cNvSpPr>
          <p:nvPr>
            <p:ph type="dt" sz="half" idx="10"/>
          </p:nvPr>
        </p:nvSpPr>
        <p:spPr/>
        <p:txBody>
          <a:bodyPr/>
          <a:lstStyle/>
          <a:p>
            <a:fld id="{2D778B6E-7B51-447A-A9A6-E502287DE058}" type="datetime1">
              <a:rPr lang="sv-SE" smtClean="0"/>
              <a:t>2023-10-12</a:t>
            </a:fld>
            <a:endParaRPr lang="sv-SE" dirty="0"/>
          </a:p>
        </p:txBody>
      </p:sp>
      <p:sp>
        <p:nvSpPr>
          <p:cNvPr id="6" name="Platshållare för bildnummer 5">
            <a:extLst>
              <a:ext uri="{FF2B5EF4-FFF2-40B4-BE49-F238E27FC236}">
                <a16:creationId xmlns:a16="http://schemas.microsoft.com/office/drawing/2014/main" id="{56DB8D21-5470-481F-17DD-3A3E2D8A031E}"/>
              </a:ext>
            </a:extLst>
          </p:cNvPr>
          <p:cNvSpPr>
            <a:spLocks noGrp="1"/>
          </p:cNvSpPr>
          <p:nvPr>
            <p:ph type="sldNum" sz="quarter" idx="12"/>
          </p:nvPr>
        </p:nvSpPr>
        <p:spPr/>
        <p:txBody>
          <a:bodyPr/>
          <a:lstStyle/>
          <a:p>
            <a:fld id="{2DBAD975-63FF-4468-AC34-025F73E043F9}" type="slidenum">
              <a:rPr lang="sv-SE" smtClean="0"/>
              <a:t>18</a:t>
            </a:fld>
            <a:endParaRPr lang="sv-SE" dirty="0"/>
          </a:p>
        </p:txBody>
      </p:sp>
    </p:spTree>
    <p:extLst>
      <p:ext uri="{BB962C8B-B14F-4D97-AF65-F5344CB8AC3E}">
        <p14:creationId xmlns:p14="http://schemas.microsoft.com/office/powerpoint/2010/main" val="18248289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58D17F41-09A2-1F22-7802-C589112444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622" imgH="623" progId="TCLayout.ActiveDocument.1">
                  <p:embed/>
                </p:oleObj>
              </mc:Choice>
              <mc:Fallback>
                <p:oleObj name="think-cell Slide" r:id="rId5" imgW="622" imgH="623" progId="TCLayout.ActiveDocument.1">
                  <p:embed/>
                  <p:pic>
                    <p:nvPicPr>
                      <p:cNvPr id="23" name="Object 22" hidden="1">
                        <a:extLst>
                          <a:ext uri="{FF2B5EF4-FFF2-40B4-BE49-F238E27FC236}">
                            <a16:creationId xmlns:a16="http://schemas.microsoft.com/office/drawing/2014/main" id="{58D17F41-09A2-1F22-7802-C589112444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Content Placeholder 34">
            <a:extLst>
              <a:ext uri="{FF2B5EF4-FFF2-40B4-BE49-F238E27FC236}">
                <a16:creationId xmlns:a16="http://schemas.microsoft.com/office/drawing/2014/main" id="{5DE4E854-F570-5C92-779C-D35BE3DB56D1}"/>
              </a:ext>
            </a:extLst>
          </p:cNvPr>
          <p:cNvSpPr>
            <a:spLocks noGrp="1"/>
          </p:cNvSpPr>
          <p:nvPr>
            <p:ph idx="1"/>
          </p:nvPr>
        </p:nvSpPr>
        <p:spPr/>
        <p:txBody>
          <a:bodyPr vert="horz" lIns="91440" tIns="45720" rIns="91440" bIns="45720" rtlCol="0" anchor="t">
            <a:noAutofit/>
          </a:bodyPr>
          <a:lstStyle/>
          <a:p>
            <a:pPr marL="29845" indent="0">
              <a:buNone/>
            </a:pPr>
            <a:r>
              <a:rPr lang="en-US">
                <a:cs typeface="Arial"/>
              </a:rPr>
              <a:t> </a:t>
            </a:r>
          </a:p>
        </p:txBody>
      </p:sp>
      <p:sp>
        <p:nvSpPr>
          <p:cNvPr id="5" name="Rubrik 1">
            <a:extLst>
              <a:ext uri="{FF2B5EF4-FFF2-40B4-BE49-F238E27FC236}">
                <a16:creationId xmlns:a16="http://schemas.microsoft.com/office/drawing/2014/main" id="{5860B5AA-5330-A3AD-9B91-EA1D2BFB9F00}"/>
              </a:ext>
            </a:extLst>
          </p:cNvPr>
          <p:cNvSpPr>
            <a:spLocks noGrp="1"/>
          </p:cNvSpPr>
          <p:nvPr>
            <p:ph type="title"/>
          </p:nvPr>
        </p:nvSpPr>
        <p:spPr>
          <a:xfrm>
            <a:off x="664233" y="874602"/>
            <a:ext cx="10169671" cy="1231392"/>
          </a:xfrm>
        </p:spPr>
        <p:txBody>
          <a:bodyPr vert="horz"/>
          <a:lstStyle/>
          <a:p>
            <a:r>
              <a:rPr lang="sv-SE" sz="2800" b="1" dirty="0">
                <a:effectLst/>
                <a:ea typeface="Calibri" panose="020F0502020204030204" pitchFamily="34" charset="0"/>
                <a:cs typeface="Arial" panose="020B0604020202020204" pitchFamily="34" charset="0"/>
              </a:rPr>
              <a:t>Exempel på faktorer som kan påverka en socionoms förutsättning att arbeta inom socialtjänsten och att stanna kvar i yrket</a:t>
            </a:r>
            <a:endParaRPr lang="sv-SE" sz="2800" dirty="0">
              <a:cs typeface="Arial" panose="020B0604020202020204" pitchFamily="34" charset="0"/>
            </a:endParaRPr>
          </a:p>
        </p:txBody>
      </p:sp>
      <p:sp>
        <p:nvSpPr>
          <p:cNvPr id="3" name="Content Placeholder 11">
            <a:extLst>
              <a:ext uri="{FF2B5EF4-FFF2-40B4-BE49-F238E27FC236}">
                <a16:creationId xmlns:a16="http://schemas.microsoft.com/office/drawing/2014/main" id="{879FD434-AE09-753A-D545-5206DF2686CE}"/>
              </a:ext>
            </a:extLst>
          </p:cNvPr>
          <p:cNvSpPr txBox="1">
            <a:spLocks/>
          </p:cNvSpPr>
          <p:nvPr/>
        </p:nvSpPr>
        <p:spPr>
          <a:xfrm>
            <a:off x="664232" y="2495203"/>
            <a:ext cx="9609825" cy="3738598"/>
          </a:xfrm>
          <a:prstGeom prst="rect">
            <a:avLst/>
          </a:prstGeom>
          <a:ln>
            <a:noFill/>
          </a:ln>
        </p:spPr>
        <p:txBody>
          <a:bodyPr vert="horz" lIns="91440" tIns="45720" rIns="91440" bIns="45720" rtlCol="0">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400" b="0" i="0" u="none" strike="noStrike" kern="1200" cap="none" spc="0" normalizeH="0" baseline="0" noProof="0">
                <a:ln>
                  <a:noFill/>
                </a:ln>
                <a:solidFill>
                  <a:prstClr val="black"/>
                </a:solidFill>
                <a:effectLst/>
                <a:uLnTx/>
                <a:uFillTx/>
                <a:latin typeface="Arial"/>
                <a:ea typeface="+mn-ea"/>
                <a:cs typeface="+mn-cs"/>
              </a:rPr>
              <a:t> </a:t>
            </a:r>
          </a:p>
        </p:txBody>
      </p:sp>
      <p:sp>
        <p:nvSpPr>
          <p:cNvPr id="8" name="Oval 7">
            <a:extLst>
              <a:ext uri="{FF2B5EF4-FFF2-40B4-BE49-F238E27FC236}">
                <a16:creationId xmlns:a16="http://schemas.microsoft.com/office/drawing/2014/main" id="{F114432D-709F-3F1A-3FF1-BAB7646D07C6}"/>
              </a:ext>
            </a:extLst>
          </p:cNvPr>
          <p:cNvSpPr/>
          <p:nvPr/>
        </p:nvSpPr>
        <p:spPr>
          <a:xfrm>
            <a:off x="3068855" y="5213023"/>
            <a:ext cx="2252312" cy="934988"/>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Grundutbild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3,5 år</a:t>
            </a:r>
          </a:p>
        </p:txBody>
      </p:sp>
      <p:sp>
        <p:nvSpPr>
          <p:cNvPr id="9" name="Arrow: Down 8">
            <a:extLst>
              <a:ext uri="{FF2B5EF4-FFF2-40B4-BE49-F238E27FC236}">
                <a16:creationId xmlns:a16="http://schemas.microsoft.com/office/drawing/2014/main" id="{A71C053E-4193-9369-4754-15DB70F58179}"/>
              </a:ext>
            </a:extLst>
          </p:cNvPr>
          <p:cNvSpPr/>
          <p:nvPr/>
        </p:nvSpPr>
        <p:spPr>
          <a:xfrm>
            <a:off x="3892200" y="4760541"/>
            <a:ext cx="605622" cy="388512"/>
          </a:xfrm>
          <a:prstGeom prst="downArrow">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Oval 16">
            <a:extLst>
              <a:ext uri="{FF2B5EF4-FFF2-40B4-BE49-F238E27FC236}">
                <a16:creationId xmlns:a16="http://schemas.microsoft.com/office/drawing/2014/main" id="{689C58CA-CDE9-EF92-BD99-578C839BB6B7}"/>
              </a:ext>
            </a:extLst>
          </p:cNvPr>
          <p:cNvSpPr/>
          <p:nvPr/>
        </p:nvSpPr>
        <p:spPr>
          <a:xfrm>
            <a:off x="2922344" y="2538496"/>
            <a:ext cx="2545335" cy="5378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 sz="1400" b="0" i="0" u="none" strike="noStrike" kern="1200" cap="none" spc="0" normalizeH="0" baseline="0" noProof="0">
                <a:ln>
                  <a:noFill/>
                </a:ln>
                <a:solidFill>
                  <a:prstClr val="white"/>
                </a:solidFill>
                <a:effectLst/>
                <a:uLnTx/>
                <a:uFillTx/>
                <a:latin typeface="Arial"/>
                <a:ea typeface="+mn-ea"/>
                <a:cs typeface="Arial"/>
              </a:rPr>
              <a:t>Regering &amp; riksdag </a:t>
            </a:r>
            <a:endParaRPr kumimoji="0" lang="sv" sz="1400" b="0" i="0" u="none" strike="noStrike" kern="1200" cap="none" spc="0" normalizeH="0" baseline="0" noProof="0">
              <a:ln>
                <a:noFill/>
              </a:ln>
              <a:solidFill>
                <a:prstClr val="white"/>
              </a:solidFill>
              <a:effectLst/>
              <a:uLnTx/>
              <a:uFillTx/>
              <a:latin typeface="Arial"/>
              <a:ea typeface="+mn-ea"/>
              <a:cs typeface="+mn-cs"/>
            </a:endParaRPr>
          </a:p>
        </p:txBody>
      </p:sp>
      <p:sp>
        <p:nvSpPr>
          <p:cNvPr id="36" name="Oval 35">
            <a:extLst>
              <a:ext uri="{FF2B5EF4-FFF2-40B4-BE49-F238E27FC236}">
                <a16:creationId xmlns:a16="http://schemas.microsoft.com/office/drawing/2014/main" id="{1A3CF996-0753-8297-1EC1-755AC24DFF82}"/>
              </a:ext>
            </a:extLst>
          </p:cNvPr>
          <p:cNvSpPr/>
          <p:nvPr/>
        </p:nvSpPr>
        <p:spPr>
          <a:xfrm>
            <a:off x="3298192"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Arial"/>
              </a:rPr>
              <a:t>Högskolans ansvar</a:t>
            </a:r>
          </a:p>
        </p:txBody>
      </p:sp>
      <p:sp>
        <p:nvSpPr>
          <p:cNvPr id="2" name="Oval 1">
            <a:extLst>
              <a:ext uri="{FF2B5EF4-FFF2-40B4-BE49-F238E27FC236}">
                <a16:creationId xmlns:a16="http://schemas.microsoft.com/office/drawing/2014/main" id="{171534E9-4041-939C-05A0-541FD67E6219}"/>
              </a:ext>
            </a:extLst>
          </p:cNvPr>
          <p:cNvSpPr/>
          <p:nvPr/>
        </p:nvSpPr>
        <p:spPr>
          <a:xfrm>
            <a:off x="5852029"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Arial"/>
              </a:rPr>
              <a:t>Arbetsgivarens ansvar</a:t>
            </a:r>
          </a:p>
        </p:txBody>
      </p:sp>
      <p:sp>
        <p:nvSpPr>
          <p:cNvPr id="6" name="Oval 5">
            <a:extLst>
              <a:ext uri="{FF2B5EF4-FFF2-40B4-BE49-F238E27FC236}">
                <a16:creationId xmlns:a16="http://schemas.microsoft.com/office/drawing/2014/main" id="{009C130E-E5B1-35CD-8DBA-BF284F0691D3}"/>
              </a:ext>
            </a:extLst>
          </p:cNvPr>
          <p:cNvSpPr/>
          <p:nvPr/>
        </p:nvSpPr>
        <p:spPr>
          <a:xfrm>
            <a:off x="744355"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Arial"/>
              </a:rPr>
              <a:t>Studentens profil</a:t>
            </a:r>
          </a:p>
        </p:txBody>
      </p:sp>
      <p:sp>
        <p:nvSpPr>
          <p:cNvPr id="7" name="Oval 6">
            <a:extLst>
              <a:ext uri="{FF2B5EF4-FFF2-40B4-BE49-F238E27FC236}">
                <a16:creationId xmlns:a16="http://schemas.microsoft.com/office/drawing/2014/main" id="{4E69BA34-9C13-0A56-B4EF-B30796086974}"/>
              </a:ext>
            </a:extLst>
          </p:cNvPr>
          <p:cNvSpPr/>
          <p:nvPr/>
        </p:nvSpPr>
        <p:spPr>
          <a:xfrm>
            <a:off x="8405866" y="3198459"/>
            <a:ext cx="1800000" cy="1440000"/>
          </a:xfrm>
          <a:prstGeom prst="ellipse">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Arial"/>
              </a:rPr>
              <a:t>Kompetent socionom</a:t>
            </a:r>
          </a:p>
        </p:txBody>
      </p:sp>
      <p:grpSp>
        <p:nvGrpSpPr>
          <p:cNvPr id="10" name="Group 9">
            <a:extLst>
              <a:ext uri="{FF2B5EF4-FFF2-40B4-BE49-F238E27FC236}">
                <a16:creationId xmlns:a16="http://schemas.microsoft.com/office/drawing/2014/main" id="{012ED84C-0956-D944-952B-F7FF9757D0BF}"/>
              </a:ext>
            </a:extLst>
          </p:cNvPr>
          <p:cNvGrpSpPr/>
          <p:nvPr/>
        </p:nvGrpSpPr>
        <p:grpSpPr>
          <a:xfrm>
            <a:off x="2615839" y="3618629"/>
            <a:ext cx="613010" cy="599660"/>
            <a:chOff x="1870110" y="1569451"/>
            <a:chExt cx="613010" cy="599660"/>
          </a:xfrm>
        </p:grpSpPr>
        <p:sp>
          <p:nvSpPr>
            <p:cNvPr id="11" name="Plus Sign 10">
              <a:extLst>
                <a:ext uri="{FF2B5EF4-FFF2-40B4-BE49-F238E27FC236}">
                  <a16:creationId xmlns:a16="http://schemas.microsoft.com/office/drawing/2014/main" id="{2767DDC4-177A-8611-A632-53983C315B86}"/>
                </a:ext>
              </a:extLst>
            </p:cNvPr>
            <p:cNvSpPr/>
            <p:nvPr/>
          </p:nvSpPr>
          <p:spPr>
            <a:xfrm>
              <a:off x="1870110" y="1569451"/>
              <a:ext cx="613010" cy="599660"/>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Plus Sign 4">
              <a:extLst>
                <a:ext uri="{FF2B5EF4-FFF2-40B4-BE49-F238E27FC236}">
                  <a16:creationId xmlns:a16="http://schemas.microsoft.com/office/drawing/2014/main" id="{3018AF04-765E-AEBE-6174-C7A78E1E2792}"/>
                </a:ext>
              </a:extLst>
            </p:cNvPr>
            <p:cNvSpPr txBox="1"/>
            <p:nvPr/>
          </p:nvSpPr>
          <p:spPr>
            <a:xfrm>
              <a:off x="1951364" y="1798761"/>
              <a:ext cx="450502" cy="141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sv-SE" sz="10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4565863B-BE03-EB81-701B-AB85D5155D5E}"/>
              </a:ext>
            </a:extLst>
          </p:cNvPr>
          <p:cNvGrpSpPr/>
          <p:nvPr/>
        </p:nvGrpSpPr>
        <p:grpSpPr>
          <a:xfrm>
            <a:off x="5157765" y="3689149"/>
            <a:ext cx="613010" cy="599660"/>
            <a:chOff x="1870110" y="1569451"/>
            <a:chExt cx="613010" cy="599660"/>
          </a:xfrm>
        </p:grpSpPr>
        <p:sp>
          <p:nvSpPr>
            <p:cNvPr id="14" name="Plus Sign 13">
              <a:extLst>
                <a:ext uri="{FF2B5EF4-FFF2-40B4-BE49-F238E27FC236}">
                  <a16:creationId xmlns:a16="http://schemas.microsoft.com/office/drawing/2014/main" id="{A5982AC3-DD91-6045-E15E-8AA99C09C28D}"/>
                </a:ext>
              </a:extLst>
            </p:cNvPr>
            <p:cNvSpPr/>
            <p:nvPr/>
          </p:nvSpPr>
          <p:spPr>
            <a:xfrm>
              <a:off x="1870110" y="1569451"/>
              <a:ext cx="613010" cy="599660"/>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Plus Sign 4">
              <a:extLst>
                <a:ext uri="{FF2B5EF4-FFF2-40B4-BE49-F238E27FC236}">
                  <a16:creationId xmlns:a16="http://schemas.microsoft.com/office/drawing/2014/main" id="{3B4D5798-B08C-C08A-496E-11B3198FFBEC}"/>
                </a:ext>
              </a:extLst>
            </p:cNvPr>
            <p:cNvSpPr txBox="1"/>
            <p:nvPr/>
          </p:nvSpPr>
          <p:spPr>
            <a:xfrm>
              <a:off x="1951364" y="1798761"/>
              <a:ext cx="450502" cy="1410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sv-SE" sz="10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9" name="Group 18">
            <a:extLst>
              <a:ext uri="{FF2B5EF4-FFF2-40B4-BE49-F238E27FC236}">
                <a16:creationId xmlns:a16="http://schemas.microsoft.com/office/drawing/2014/main" id="{BBD9CEA5-E096-B0C1-1A98-74D54BC8A6FA}"/>
              </a:ext>
            </a:extLst>
          </p:cNvPr>
          <p:cNvGrpSpPr/>
          <p:nvPr/>
        </p:nvGrpSpPr>
        <p:grpSpPr>
          <a:xfrm>
            <a:off x="7724665" y="3618629"/>
            <a:ext cx="613010" cy="599660"/>
            <a:chOff x="7127604" y="1569451"/>
            <a:chExt cx="613010" cy="599660"/>
          </a:xfrm>
        </p:grpSpPr>
        <p:sp>
          <p:nvSpPr>
            <p:cNvPr id="20" name="Equals 19">
              <a:extLst>
                <a:ext uri="{FF2B5EF4-FFF2-40B4-BE49-F238E27FC236}">
                  <a16:creationId xmlns:a16="http://schemas.microsoft.com/office/drawing/2014/main" id="{6398B459-BBF6-551D-9EA3-36EC9B0D338D}"/>
                </a:ext>
              </a:extLst>
            </p:cNvPr>
            <p:cNvSpPr/>
            <p:nvPr/>
          </p:nvSpPr>
          <p:spPr>
            <a:xfrm>
              <a:off x="7127604" y="1569451"/>
              <a:ext cx="613010" cy="599660"/>
            </a:xfrm>
            <a:prstGeom prst="mathEqual">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Equals 4">
              <a:extLst>
                <a:ext uri="{FF2B5EF4-FFF2-40B4-BE49-F238E27FC236}">
                  <a16:creationId xmlns:a16="http://schemas.microsoft.com/office/drawing/2014/main" id="{7A04C46C-72F8-D3AA-07FF-A662954823C0}"/>
                </a:ext>
              </a:extLst>
            </p:cNvPr>
            <p:cNvSpPr txBox="1"/>
            <p:nvPr/>
          </p:nvSpPr>
          <p:spPr>
            <a:xfrm>
              <a:off x="7208858" y="1692981"/>
              <a:ext cx="450502" cy="3526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endParaRPr kumimoji="0" lang="sv-SE" sz="2600" b="0" i="0" u="none" strike="noStrike" kern="1200" cap="none" spc="0" normalizeH="0" baseline="0" noProof="0">
                <a:ln>
                  <a:noFill/>
                </a:ln>
                <a:solidFill>
                  <a:prstClr val="white"/>
                </a:solidFill>
                <a:effectLst/>
                <a:uLnTx/>
                <a:uFillTx/>
                <a:latin typeface="Arial"/>
                <a:ea typeface="+mn-ea"/>
                <a:cs typeface="+mn-cs"/>
              </a:endParaRPr>
            </a:p>
          </p:txBody>
        </p:sp>
      </p:grpSp>
      <p:sp>
        <p:nvSpPr>
          <p:cNvPr id="4" name="Platshållare för datum 3">
            <a:extLst>
              <a:ext uri="{FF2B5EF4-FFF2-40B4-BE49-F238E27FC236}">
                <a16:creationId xmlns:a16="http://schemas.microsoft.com/office/drawing/2014/main" id="{BAC0498B-A827-8791-8674-61403EE9B61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778EB08-2EF7-4867-B1A7-19331391ADCA}"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Platshållare för sidfot 14">
            <a:extLst>
              <a:ext uri="{FF2B5EF4-FFF2-40B4-BE49-F238E27FC236}">
                <a16:creationId xmlns:a16="http://schemas.microsoft.com/office/drawing/2014/main" id="{79493D66-9D37-C0C5-DEE2-141ABCD5EB9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Platshållare för bildnummer 15">
            <a:extLst>
              <a:ext uri="{FF2B5EF4-FFF2-40B4-BE49-F238E27FC236}">
                <a16:creationId xmlns:a16="http://schemas.microsoft.com/office/drawing/2014/main" id="{53C62E8B-6DBB-90EE-6752-8D598462DE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43269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F31ECE7-C6C6-4C5A-6F6E-FBBEB84D0359}"/>
              </a:ext>
            </a:extLst>
          </p:cNvPr>
          <p:cNvSpPr>
            <a:spLocks noGrp="1"/>
          </p:cNvSpPr>
          <p:nvPr>
            <p:ph type="title"/>
          </p:nvPr>
        </p:nvSpPr>
        <p:spPr>
          <a:xfrm>
            <a:off x="664234" y="874602"/>
            <a:ext cx="5326992" cy="1228518"/>
          </a:xfrm>
        </p:spPr>
        <p:txBody>
          <a:bodyPr anchor="t">
            <a:normAutofit/>
          </a:bodyPr>
          <a:lstStyle/>
          <a:p>
            <a:r>
              <a:rPr lang="sv-SE" sz="3700"/>
              <a:t>Syfte med dagens informationsstund</a:t>
            </a:r>
          </a:p>
        </p:txBody>
      </p:sp>
      <p:sp>
        <p:nvSpPr>
          <p:cNvPr id="12" name="Content Placeholder 2">
            <a:extLst>
              <a:ext uri="{FF2B5EF4-FFF2-40B4-BE49-F238E27FC236}">
                <a16:creationId xmlns:a16="http://schemas.microsoft.com/office/drawing/2014/main" id="{792B432E-0D5B-A385-D267-58C5444B67D3}"/>
              </a:ext>
            </a:extLst>
          </p:cNvPr>
          <p:cNvSpPr>
            <a:spLocks noGrp="1"/>
          </p:cNvSpPr>
          <p:nvPr>
            <p:ph sz="half" idx="1"/>
          </p:nvPr>
        </p:nvSpPr>
        <p:spPr>
          <a:xfrm>
            <a:off x="664234" y="2242998"/>
            <a:ext cx="5325226" cy="3740400"/>
          </a:xfrm>
        </p:spPr>
        <p:txBody>
          <a:bodyPr/>
          <a:lstStyle/>
          <a:p>
            <a:pPr>
              <a:buFont typeface="Arial" panose="020B0604020202020204" pitchFamily="34" charset="0"/>
              <a:buChar char="•"/>
            </a:pPr>
            <a:r>
              <a:rPr kumimoji="0" lang="sv-SE" sz="2200" b="0" i="0" u="none" strike="noStrike" kern="1200" cap="none" spc="0" normalizeH="0" baseline="0" noProof="0" dirty="0">
                <a:ln>
                  <a:noFill/>
                </a:ln>
                <a:solidFill>
                  <a:prstClr val="black"/>
                </a:solidFill>
                <a:effectLst/>
                <a:uLnTx/>
                <a:uFillTx/>
                <a:latin typeface="Arial"/>
                <a:ea typeface="+mn-ea"/>
                <a:cs typeface="+mn-cs"/>
              </a:rPr>
              <a:t>Informera er om SKR:s pågående </a:t>
            </a:r>
            <a:r>
              <a:rPr lang="sv-SE" sz="2200" dirty="0">
                <a:solidFill>
                  <a:prstClr val="black"/>
                </a:solidFill>
                <a:latin typeface="Arial"/>
              </a:rPr>
              <a:t>undersökning om socionomprogrammet</a:t>
            </a:r>
          </a:p>
          <a:p>
            <a:pPr>
              <a:buFont typeface="Arial" panose="020B0604020202020204" pitchFamily="34" charset="0"/>
              <a:buChar char="•"/>
            </a:pPr>
            <a:r>
              <a:rPr lang="sv-SE" sz="2200" dirty="0">
                <a:solidFill>
                  <a:prstClr val="black"/>
                </a:solidFill>
                <a:latin typeface="Arial"/>
              </a:rPr>
              <a:t>Visa några av de behov som framkommit </a:t>
            </a:r>
          </a:p>
          <a:p>
            <a:pPr>
              <a:buFont typeface="Arial" panose="020B0604020202020204" pitchFamily="34" charset="0"/>
              <a:buChar char="•"/>
            </a:pPr>
            <a:r>
              <a:rPr lang="sv-SE" sz="2200" dirty="0">
                <a:solidFill>
                  <a:prstClr val="black"/>
                </a:solidFill>
                <a:latin typeface="Arial"/>
              </a:rPr>
              <a:t>Att titta på några av de förslag vi har tagit fram</a:t>
            </a:r>
          </a:p>
          <a:p>
            <a:pPr>
              <a:buFont typeface="Arial" panose="020B0604020202020204" pitchFamily="34" charset="0"/>
              <a:buChar char="•"/>
            </a:pPr>
            <a:r>
              <a:rPr kumimoji="0" lang="sv-SE" sz="2200" b="0" i="0" u="none" strike="noStrike" kern="1200" cap="none" spc="0" normalizeH="0" baseline="0" noProof="0" dirty="0">
                <a:ln>
                  <a:noFill/>
                </a:ln>
                <a:solidFill>
                  <a:prstClr val="black"/>
                </a:solidFill>
                <a:effectLst/>
                <a:uLnTx/>
                <a:uFillTx/>
                <a:latin typeface="Arial"/>
                <a:ea typeface="+mn-ea"/>
                <a:cs typeface="+mn-cs"/>
              </a:rPr>
              <a:t>Dialog om förslagen</a:t>
            </a:r>
          </a:p>
          <a:p>
            <a:endParaRPr lang="en-US" sz="2200" dirty="0"/>
          </a:p>
        </p:txBody>
      </p:sp>
      <p:pic>
        <p:nvPicPr>
          <p:cNvPr id="7" name="Platshållare för innehåll 5" descr="Stadsbelysning fokuserad genom förstoringsglas">
            <a:extLst>
              <a:ext uri="{FF2B5EF4-FFF2-40B4-BE49-F238E27FC236}">
                <a16:creationId xmlns:a16="http://schemas.microsoft.com/office/drawing/2014/main" id="{5BEC007C-0FA5-CAE2-083F-6D19DA38F59D}"/>
              </a:ext>
            </a:extLst>
          </p:cNvPr>
          <p:cNvPicPr>
            <a:picLocks noChangeAspect="1"/>
          </p:cNvPicPr>
          <p:nvPr/>
        </p:nvPicPr>
        <p:blipFill rotWithShape="1">
          <a:blip r:embed="rId3">
            <a:extLst>
              <a:ext uri="{28A0092B-C50C-407E-A947-70E740481C1C}">
                <a14:useLocalDpi xmlns:a14="http://schemas.microsoft.com/office/drawing/2010/main" val="0"/>
              </a:ext>
            </a:extLst>
          </a:blip>
          <a:srcRect l="24271" r="23775" b="-1"/>
          <a:stretch/>
        </p:blipFill>
        <p:spPr>
          <a:xfrm>
            <a:off x="6095999" y="874602"/>
            <a:ext cx="4172325" cy="5360598"/>
          </a:xfrm>
          <a:prstGeom prst="rect">
            <a:avLst/>
          </a:prstGeom>
          <a:noFill/>
        </p:spPr>
      </p:pic>
    </p:spTree>
    <p:extLst>
      <p:ext uri="{BB962C8B-B14F-4D97-AF65-F5344CB8AC3E}">
        <p14:creationId xmlns:p14="http://schemas.microsoft.com/office/powerpoint/2010/main" val="7923479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F996DE-F869-610C-B621-C60F39B7B873}"/>
              </a:ext>
            </a:extLst>
          </p:cNvPr>
          <p:cNvSpPr>
            <a:spLocks noGrp="1"/>
          </p:cNvSpPr>
          <p:nvPr>
            <p:ph type="title"/>
          </p:nvPr>
        </p:nvSpPr>
        <p:spPr/>
        <p:txBody>
          <a:bodyPr/>
          <a:lstStyle/>
          <a:p>
            <a:r>
              <a:rPr lang="sv-SE" dirty="0"/>
              <a:t>Studentens ”profil”</a:t>
            </a:r>
          </a:p>
        </p:txBody>
      </p:sp>
      <p:graphicFrame>
        <p:nvGraphicFramePr>
          <p:cNvPr id="5" name="Platshållare för innehåll 4">
            <a:extLst>
              <a:ext uri="{FF2B5EF4-FFF2-40B4-BE49-F238E27FC236}">
                <a16:creationId xmlns:a16="http://schemas.microsoft.com/office/drawing/2014/main" id="{E615D0E6-8846-01BD-F9C7-6E812DE7819D}"/>
              </a:ext>
            </a:extLst>
          </p:cNvPr>
          <p:cNvGraphicFramePr>
            <a:graphicFrameLocks noGrp="1"/>
          </p:cNvGraphicFramePr>
          <p:nvPr>
            <p:ph idx="1"/>
          </p:nvPr>
        </p:nvGraphicFramePr>
        <p:xfrm>
          <a:off x="663575" y="2495550"/>
          <a:ext cx="9610725" cy="3738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Platshållare för datum 2">
            <a:extLst>
              <a:ext uri="{FF2B5EF4-FFF2-40B4-BE49-F238E27FC236}">
                <a16:creationId xmlns:a16="http://schemas.microsoft.com/office/drawing/2014/main" id="{7A669248-1944-EA08-4848-0BCDCE78A94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8626B54-B80B-451F-9C34-8CF514B09CC4}"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a:extLst>
              <a:ext uri="{FF2B5EF4-FFF2-40B4-BE49-F238E27FC236}">
                <a16:creationId xmlns:a16="http://schemas.microsoft.com/office/drawing/2014/main" id="{CBE30669-9CC4-3CAC-79AF-19299E0C4DA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21A23D5A-6E0B-C8BD-A091-1DCC8CADF8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7030527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3383D7C-A9F9-970D-84EC-A050201A058A}"/>
              </a:ext>
            </a:extLst>
          </p:cNvPr>
          <p:cNvSpPr>
            <a:spLocks noGrp="1"/>
          </p:cNvSpPr>
          <p:nvPr>
            <p:ph type="title"/>
          </p:nvPr>
        </p:nvSpPr>
        <p:spPr>
          <a:xfrm>
            <a:off x="773415" y="505861"/>
            <a:ext cx="10265486" cy="1231392"/>
          </a:xfrm>
        </p:spPr>
        <p:txBody>
          <a:bodyPr/>
          <a:lstStyle/>
          <a:p>
            <a:r>
              <a:rPr lang="sv-SE" sz="2200" dirty="0"/>
              <a:t>Högskolans ansvar och </a:t>
            </a:r>
            <a:r>
              <a:rPr lang="sv-SE" sz="2200" dirty="0">
                <a:solidFill>
                  <a:schemeClr val="accent3"/>
                </a:solidFill>
              </a:rPr>
              <a:t>högskolelag och högskoleförordning med bilaga</a:t>
            </a:r>
          </a:p>
        </p:txBody>
      </p:sp>
      <p:graphicFrame>
        <p:nvGraphicFramePr>
          <p:cNvPr id="4" name="Platshållare för innehåll 3">
            <a:extLst>
              <a:ext uri="{FF2B5EF4-FFF2-40B4-BE49-F238E27FC236}">
                <a16:creationId xmlns:a16="http://schemas.microsoft.com/office/drawing/2014/main" id="{B8FF8F88-69B4-327D-2EF3-173DCDDD1FF3}"/>
              </a:ext>
            </a:extLst>
          </p:cNvPr>
          <p:cNvGraphicFramePr>
            <a:graphicFrameLocks noGrp="1"/>
          </p:cNvGraphicFramePr>
          <p:nvPr>
            <p:ph idx="1"/>
          </p:nvPr>
        </p:nvGraphicFramePr>
        <p:xfrm>
          <a:off x="2218282" y="2278421"/>
          <a:ext cx="9610725" cy="3738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Ellips 4">
            <a:extLst>
              <a:ext uri="{FF2B5EF4-FFF2-40B4-BE49-F238E27FC236}">
                <a16:creationId xmlns:a16="http://schemas.microsoft.com/office/drawing/2014/main" id="{18E69D2D-F3DB-558B-4036-28A14325EF6F}"/>
              </a:ext>
            </a:extLst>
          </p:cNvPr>
          <p:cNvSpPr/>
          <p:nvPr/>
        </p:nvSpPr>
        <p:spPr>
          <a:xfrm>
            <a:off x="506752" y="1810737"/>
            <a:ext cx="2561567" cy="718712"/>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Formulering av examensmål</a:t>
            </a:r>
          </a:p>
        </p:txBody>
      </p:sp>
      <p:sp>
        <p:nvSpPr>
          <p:cNvPr id="9" name="Ellips 8">
            <a:extLst>
              <a:ext uri="{FF2B5EF4-FFF2-40B4-BE49-F238E27FC236}">
                <a16:creationId xmlns:a16="http://schemas.microsoft.com/office/drawing/2014/main" id="{D7723629-2858-D3EF-AF6C-4B0094989FB6}"/>
              </a:ext>
            </a:extLst>
          </p:cNvPr>
          <p:cNvSpPr/>
          <p:nvPr/>
        </p:nvSpPr>
        <p:spPr>
          <a:xfrm>
            <a:off x="506752" y="3320226"/>
            <a:ext cx="2511821" cy="777409"/>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Längd på grundutbildning (210 </a:t>
            </a:r>
            <a:r>
              <a:rPr kumimoji="0" lang="sv-SE" sz="1400" b="0" i="0" u="none" strike="noStrike" kern="1200" cap="none" spc="0" normalizeH="0" baseline="0" noProof="0" dirty="0" err="1">
                <a:ln>
                  <a:noFill/>
                </a:ln>
                <a:solidFill>
                  <a:prstClr val="white"/>
                </a:solidFill>
                <a:effectLst/>
                <a:uLnTx/>
                <a:uFillTx/>
                <a:latin typeface="Arial"/>
                <a:ea typeface="+mn-ea"/>
                <a:cs typeface="+mn-cs"/>
              </a:rPr>
              <a:t>hp</a:t>
            </a:r>
            <a:r>
              <a:rPr kumimoji="0" lang="sv-SE" sz="1400" b="0" i="0" u="none" strike="noStrike" kern="1200" cap="none" spc="0" normalizeH="0" baseline="0" noProof="0" dirty="0">
                <a:ln>
                  <a:noFill/>
                </a:ln>
                <a:solidFill>
                  <a:prstClr val="white"/>
                </a:solidFill>
                <a:effectLst/>
                <a:uLnTx/>
                <a:uFillTx/>
                <a:latin typeface="Arial"/>
                <a:ea typeface="+mn-ea"/>
                <a:cs typeface="+mn-cs"/>
              </a:rPr>
              <a:t>)</a:t>
            </a:r>
          </a:p>
        </p:txBody>
      </p:sp>
      <p:sp>
        <p:nvSpPr>
          <p:cNvPr id="6" name="textruta 5">
            <a:extLst>
              <a:ext uri="{FF2B5EF4-FFF2-40B4-BE49-F238E27FC236}">
                <a16:creationId xmlns:a16="http://schemas.microsoft.com/office/drawing/2014/main" id="{D7096FFD-3FC5-3127-E7FB-793351F991A7}"/>
              </a:ext>
            </a:extLst>
          </p:cNvPr>
          <p:cNvSpPr txBox="1"/>
          <p:nvPr/>
        </p:nvSpPr>
        <p:spPr>
          <a:xfrm>
            <a:off x="805636" y="1059333"/>
            <a:ext cx="934582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Exempel på sådant som kan påverka grundutbildningen och där lärosäten har mandat att bestämma </a:t>
            </a:r>
          </a:p>
        </p:txBody>
      </p:sp>
      <p:sp>
        <p:nvSpPr>
          <p:cNvPr id="10" name="Ellips 9">
            <a:extLst>
              <a:ext uri="{FF2B5EF4-FFF2-40B4-BE49-F238E27FC236}">
                <a16:creationId xmlns:a16="http://schemas.microsoft.com/office/drawing/2014/main" id="{D9CE45D7-2836-394F-4E4A-46F4092A8559}"/>
              </a:ext>
            </a:extLst>
          </p:cNvPr>
          <p:cNvSpPr/>
          <p:nvPr/>
        </p:nvSpPr>
        <p:spPr>
          <a:xfrm>
            <a:off x="506752" y="4225871"/>
            <a:ext cx="2561566" cy="892162"/>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Ersättning till lärosäten för att underlätta VFU</a:t>
            </a:r>
          </a:p>
        </p:txBody>
      </p:sp>
      <p:sp>
        <p:nvSpPr>
          <p:cNvPr id="11" name="Ellips 10">
            <a:extLst>
              <a:ext uri="{FF2B5EF4-FFF2-40B4-BE49-F238E27FC236}">
                <a16:creationId xmlns:a16="http://schemas.microsoft.com/office/drawing/2014/main" id="{A367BFCB-46B7-FF2A-8E17-2098E4410993}"/>
              </a:ext>
            </a:extLst>
          </p:cNvPr>
          <p:cNvSpPr/>
          <p:nvPr/>
        </p:nvSpPr>
        <p:spPr>
          <a:xfrm>
            <a:off x="506753" y="5219472"/>
            <a:ext cx="2561565" cy="892162"/>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Ersättning till lärosätena för att bedriva utbildningen</a:t>
            </a:r>
          </a:p>
        </p:txBody>
      </p:sp>
      <p:sp>
        <p:nvSpPr>
          <p:cNvPr id="7" name="Ellips 6">
            <a:extLst>
              <a:ext uri="{FF2B5EF4-FFF2-40B4-BE49-F238E27FC236}">
                <a16:creationId xmlns:a16="http://schemas.microsoft.com/office/drawing/2014/main" id="{1C32AF76-CA7F-10F3-0D5D-4DC1C2349719}"/>
              </a:ext>
            </a:extLst>
          </p:cNvPr>
          <p:cNvSpPr/>
          <p:nvPr/>
        </p:nvSpPr>
        <p:spPr>
          <a:xfrm>
            <a:off x="506752" y="2576959"/>
            <a:ext cx="2683488" cy="718712"/>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highlight>
                  <a:srgbClr val="FF0000"/>
                </a:highlight>
                <a:uLnTx/>
                <a:uFillTx/>
                <a:latin typeface="Arial"/>
                <a:ea typeface="+mn-ea"/>
                <a:cs typeface="+mn-cs"/>
              </a:rPr>
              <a:t>Antagningsförfarande</a:t>
            </a:r>
          </a:p>
        </p:txBody>
      </p:sp>
      <p:sp>
        <p:nvSpPr>
          <p:cNvPr id="3" name="Platshållare för datum 2">
            <a:extLst>
              <a:ext uri="{FF2B5EF4-FFF2-40B4-BE49-F238E27FC236}">
                <a16:creationId xmlns:a16="http://schemas.microsoft.com/office/drawing/2014/main" id="{C981389B-3659-99E4-80F5-F6BA7F54371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040F0-43D6-4933-94F3-75D1BC7B01E9}"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a:extLst>
              <a:ext uri="{FF2B5EF4-FFF2-40B4-BE49-F238E27FC236}">
                <a16:creationId xmlns:a16="http://schemas.microsoft.com/office/drawing/2014/main" id="{219EB90D-F004-C72B-953D-1CBBA6D150F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Platshållare för bildnummer 11">
            <a:extLst>
              <a:ext uri="{FF2B5EF4-FFF2-40B4-BE49-F238E27FC236}">
                <a16:creationId xmlns:a16="http://schemas.microsoft.com/office/drawing/2014/main" id="{E50E64F7-481C-57FD-0B23-05DDFA7B8D0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659419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41C78FD-0CF4-579F-624C-54386E584411}"/>
              </a:ext>
            </a:extLst>
          </p:cNvPr>
          <p:cNvSpPr>
            <a:spLocks noGrp="1"/>
          </p:cNvSpPr>
          <p:nvPr>
            <p:ph type="title"/>
          </p:nvPr>
        </p:nvSpPr>
        <p:spPr>
          <a:xfrm>
            <a:off x="664233" y="874602"/>
            <a:ext cx="10339047" cy="1231392"/>
          </a:xfrm>
        </p:spPr>
        <p:txBody>
          <a:bodyPr/>
          <a:lstStyle/>
          <a:p>
            <a:r>
              <a:rPr lang="sv-SE" sz="3200" dirty="0"/>
              <a:t>Exempel på faktorer som arbetsgivare kan påverka under och efter grundutbildning för socionomer</a:t>
            </a:r>
          </a:p>
        </p:txBody>
      </p:sp>
      <p:graphicFrame>
        <p:nvGraphicFramePr>
          <p:cNvPr id="4" name="Platshållare för innehåll 3">
            <a:extLst>
              <a:ext uri="{FF2B5EF4-FFF2-40B4-BE49-F238E27FC236}">
                <a16:creationId xmlns:a16="http://schemas.microsoft.com/office/drawing/2014/main" id="{FB9C87D2-DBFF-3FB2-3B35-5BA4F1C9EDEF}"/>
              </a:ext>
            </a:extLst>
          </p:cNvPr>
          <p:cNvGraphicFramePr>
            <a:graphicFrameLocks noGrp="1"/>
          </p:cNvGraphicFramePr>
          <p:nvPr>
            <p:ph idx="1"/>
            <p:extLst>
              <p:ext uri="{D42A27DB-BD31-4B8C-83A1-F6EECF244321}">
                <p14:modId xmlns:p14="http://schemas.microsoft.com/office/powerpoint/2010/main" val="1238354661"/>
              </p:ext>
            </p:extLst>
          </p:nvPr>
        </p:nvGraphicFramePr>
        <p:xfrm>
          <a:off x="663575" y="2105994"/>
          <a:ext cx="9610725" cy="41281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Platshållare för datum 2">
            <a:extLst>
              <a:ext uri="{FF2B5EF4-FFF2-40B4-BE49-F238E27FC236}">
                <a16:creationId xmlns:a16="http://schemas.microsoft.com/office/drawing/2014/main" id="{744EA039-EDCD-EE90-570C-91242756E90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247FF4-81EF-4AE8-B363-6564CA12C034}"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A4686E9F-BF63-3FFF-0F1F-56D44EAD253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A60BFB7C-92C6-B6C2-FA60-C489AE9B4A7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Ellips 6">
            <a:extLst>
              <a:ext uri="{FF2B5EF4-FFF2-40B4-BE49-F238E27FC236}">
                <a16:creationId xmlns:a16="http://schemas.microsoft.com/office/drawing/2014/main" id="{299704D5-A64D-D18C-25E3-EC3C0A7B6C4C}"/>
              </a:ext>
            </a:extLst>
          </p:cNvPr>
          <p:cNvSpPr/>
          <p:nvPr/>
        </p:nvSpPr>
        <p:spPr>
          <a:xfrm>
            <a:off x="10039349" y="2390774"/>
            <a:ext cx="1606113" cy="14763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Lön och andra förmåner</a:t>
            </a:r>
          </a:p>
        </p:txBody>
      </p:sp>
    </p:spTree>
    <p:extLst>
      <p:ext uri="{BB962C8B-B14F-4D97-AF65-F5344CB8AC3E}">
        <p14:creationId xmlns:p14="http://schemas.microsoft.com/office/powerpoint/2010/main" val="16745408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52B992C-B7B2-6CE4-EDF5-129B70D1FF0B}"/>
              </a:ext>
            </a:extLst>
          </p:cNvPr>
          <p:cNvSpPr>
            <a:spLocks noGrp="1"/>
          </p:cNvSpPr>
          <p:nvPr>
            <p:ph type="ctrTitle"/>
          </p:nvPr>
        </p:nvSpPr>
        <p:spPr/>
        <p:txBody>
          <a:bodyPr/>
          <a:lstStyle/>
          <a:p>
            <a:r>
              <a:rPr lang="sv-SE" sz="4800" dirty="0"/>
              <a:t>Förslag och dialog</a:t>
            </a:r>
          </a:p>
        </p:txBody>
      </p:sp>
      <p:sp>
        <p:nvSpPr>
          <p:cNvPr id="3" name="Underrubrik 2">
            <a:extLst>
              <a:ext uri="{FF2B5EF4-FFF2-40B4-BE49-F238E27FC236}">
                <a16:creationId xmlns:a16="http://schemas.microsoft.com/office/drawing/2014/main" id="{2D00E67C-5C6F-D840-356A-CD22EB2F8BC9}"/>
              </a:ext>
            </a:extLst>
          </p:cNvPr>
          <p:cNvSpPr>
            <a:spLocks noGrp="1"/>
          </p:cNvSpPr>
          <p:nvPr>
            <p:ph type="subTitle" idx="1"/>
          </p:nvPr>
        </p:nvSpPr>
        <p:spPr/>
        <p:txBody>
          <a:bodyPr/>
          <a:lstStyle/>
          <a:p>
            <a:r>
              <a:rPr lang="sv-SE" dirty="0"/>
              <a:t>Förslagen är under framtagande och några av dem presenteras på mötet den 5 oktober</a:t>
            </a:r>
          </a:p>
        </p:txBody>
      </p:sp>
      <p:sp>
        <p:nvSpPr>
          <p:cNvPr id="4" name="Platshållare för sidfot 3">
            <a:extLst>
              <a:ext uri="{FF2B5EF4-FFF2-40B4-BE49-F238E27FC236}">
                <a16:creationId xmlns:a16="http://schemas.microsoft.com/office/drawing/2014/main" id="{406F9512-9B40-2684-BEC5-51481E5CD745}"/>
              </a:ext>
            </a:extLst>
          </p:cNvPr>
          <p:cNvSpPr>
            <a:spLocks noGrp="1"/>
          </p:cNvSpPr>
          <p:nvPr>
            <p:ph type="ftr" sz="quarter" idx="11"/>
          </p:nvPr>
        </p:nvSpPr>
        <p:spPr/>
        <p:txBody>
          <a:bodyPr/>
          <a:lstStyle/>
          <a:p>
            <a:r>
              <a:rPr lang="sv-SE"/>
              <a:t>Avdelningen för vård och omsorg</a:t>
            </a:r>
            <a:endParaRPr lang="sv-SE" dirty="0"/>
          </a:p>
        </p:txBody>
      </p:sp>
      <p:sp>
        <p:nvSpPr>
          <p:cNvPr id="5" name="Platshållare för datum 4">
            <a:extLst>
              <a:ext uri="{FF2B5EF4-FFF2-40B4-BE49-F238E27FC236}">
                <a16:creationId xmlns:a16="http://schemas.microsoft.com/office/drawing/2014/main" id="{DB98197D-C1F7-068E-0966-CE6D92578D90}"/>
              </a:ext>
            </a:extLst>
          </p:cNvPr>
          <p:cNvSpPr>
            <a:spLocks noGrp="1"/>
          </p:cNvSpPr>
          <p:nvPr>
            <p:ph type="dt" sz="half" idx="10"/>
          </p:nvPr>
        </p:nvSpPr>
        <p:spPr/>
        <p:txBody>
          <a:bodyPr/>
          <a:lstStyle/>
          <a:p>
            <a:fld id="{2D0FFD79-647F-4E8F-9BDC-0F289429DB81}" type="datetime1">
              <a:rPr lang="sv-SE" smtClean="0"/>
              <a:t>2023-10-12</a:t>
            </a:fld>
            <a:endParaRPr lang="sv-SE" dirty="0"/>
          </a:p>
        </p:txBody>
      </p:sp>
      <p:sp>
        <p:nvSpPr>
          <p:cNvPr id="6" name="Platshållare för bildnummer 5">
            <a:extLst>
              <a:ext uri="{FF2B5EF4-FFF2-40B4-BE49-F238E27FC236}">
                <a16:creationId xmlns:a16="http://schemas.microsoft.com/office/drawing/2014/main" id="{0EFEC3F0-36AD-95FB-9371-C57204267562}"/>
              </a:ext>
            </a:extLst>
          </p:cNvPr>
          <p:cNvSpPr>
            <a:spLocks noGrp="1"/>
          </p:cNvSpPr>
          <p:nvPr>
            <p:ph type="sldNum" sz="quarter" idx="12"/>
          </p:nvPr>
        </p:nvSpPr>
        <p:spPr/>
        <p:txBody>
          <a:bodyPr/>
          <a:lstStyle/>
          <a:p>
            <a:fld id="{2DBAD975-63FF-4468-AC34-025F73E043F9}" type="slidenum">
              <a:rPr lang="sv-SE" smtClean="0"/>
              <a:t>23</a:t>
            </a:fld>
            <a:endParaRPr lang="sv-SE" dirty="0"/>
          </a:p>
        </p:txBody>
      </p:sp>
    </p:spTree>
    <p:extLst>
      <p:ext uri="{BB962C8B-B14F-4D97-AF65-F5344CB8AC3E}">
        <p14:creationId xmlns:p14="http://schemas.microsoft.com/office/powerpoint/2010/main" val="9636737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A0A986-C29E-BB26-F316-7640AE31DC49}"/>
              </a:ext>
            </a:extLst>
          </p:cNvPr>
          <p:cNvSpPr>
            <a:spLocks noGrp="1"/>
          </p:cNvSpPr>
          <p:nvPr>
            <p:ph type="title"/>
          </p:nvPr>
        </p:nvSpPr>
        <p:spPr/>
        <p:txBody>
          <a:bodyPr/>
          <a:lstStyle/>
          <a:p>
            <a:r>
              <a:rPr lang="sv-SE" sz="3200" kern="100" dirty="0">
                <a:ea typeface="Calibri" panose="020F0502020204030204" pitchFamily="34" charset="0"/>
                <a:cs typeface="Times New Roman" panose="02020603050405020304" pitchFamily="18" charset="0"/>
              </a:rPr>
              <a:t>Förslagen kommer troligen att rikta sig till olika huvudmän (och vissa förslag till flera av dem)</a:t>
            </a:r>
            <a:r>
              <a:rPr lang="sv-SE" sz="3200" kern="100" dirty="0">
                <a:effectLst/>
                <a:ea typeface="Calibri" panose="020F0502020204030204" pitchFamily="34" charset="0"/>
                <a:cs typeface="Times New Roman" panose="02020603050405020304" pitchFamily="18" charset="0"/>
              </a:rPr>
              <a:t/>
            </a:r>
            <a:br>
              <a:rPr lang="sv-SE" sz="3200" kern="100" dirty="0">
                <a:effectLst/>
                <a:ea typeface="Calibri" panose="020F0502020204030204" pitchFamily="34" charset="0"/>
                <a:cs typeface="Times New Roman" panose="02020603050405020304" pitchFamily="18" charset="0"/>
              </a:rPr>
            </a:br>
            <a:endParaRPr lang="sv-SE" sz="3200" dirty="0"/>
          </a:p>
        </p:txBody>
      </p:sp>
      <p:sp>
        <p:nvSpPr>
          <p:cNvPr id="3" name="Platshållare för innehåll 2">
            <a:extLst>
              <a:ext uri="{FF2B5EF4-FFF2-40B4-BE49-F238E27FC236}">
                <a16:creationId xmlns:a16="http://schemas.microsoft.com/office/drawing/2014/main" id="{6AABCD59-FB58-F7A6-80C4-72B5AE1D9013}"/>
              </a:ext>
            </a:extLst>
          </p:cNvPr>
          <p:cNvSpPr>
            <a:spLocks noGrp="1"/>
          </p:cNvSpPr>
          <p:nvPr>
            <p:ph idx="1"/>
          </p:nvPr>
        </p:nvSpPr>
        <p:spPr>
          <a:xfrm>
            <a:off x="1291087" y="2550621"/>
            <a:ext cx="9609825" cy="2852652"/>
          </a:xfrm>
        </p:spPr>
        <p:txBody>
          <a:bodyPr/>
          <a:lstStyle/>
          <a:p>
            <a:pPr marL="342900" indent="-342900">
              <a:buFont typeface="+mj-lt"/>
              <a:buAutoNum type="arabicPeriod"/>
            </a:pPr>
            <a:r>
              <a:rPr lang="sv-SE" sz="1800" kern="100" dirty="0">
                <a:effectLst/>
                <a:ea typeface="Calibri" panose="020F0502020204030204" pitchFamily="34" charset="0"/>
                <a:cs typeface="Times New Roman" panose="02020603050405020304" pitchFamily="18" charset="0"/>
              </a:rPr>
              <a:t>Regeringen </a:t>
            </a:r>
          </a:p>
          <a:p>
            <a:pPr marL="342900" lvl="0" indent="-342900">
              <a:buFont typeface="+mj-lt"/>
              <a:buAutoNum type="arabicPeriod"/>
            </a:pPr>
            <a:r>
              <a:rPr lang="sv-SE" sz="1800" kern="100" dirty="0">
                <a:ea typeface="Calibri" panose="020F0502020204030204" pitchFamily="34" charset="0"/>
                <a:cs typeface="Times New Roman" panose="02020603050405020304" pitchFamily="18" charset="0"/>
              </a:rPr>
              <a:t>K</a:t>
            </a:r>
            <a:r>
              <a:rPr lang="sv-SE" sz="1800" kern="100" dirty="0">
                <a:effectLst/>
                <a:ea typeface="Calibri" panose="020F0502020204030204" pitchFamily="34" charset="0"/>
                <a:cs typeface="Times New Roman" panose="02020603050405020304" pitchFamily="18" charset="0"/>
              </a:rPr>
              <a:t>ommuner</a:t>
            </a:r>
          </a:p>
          <a:p>
            <a:pPr marL="342900" lvl="0" indent="-342900">
              <a:buFont typeface="+mj-lt"/>
              <a:buAutoNum type="arabicPeriod"/>
            </a:pPr>
            <a:r>
              <a:rPr lang="sv-SE" sz="1800" kern="100" dirty="0">
                <a:effectLst/>
                <a:ea typeface="Calibri" panose="020F0502020204030204" pitchFamily="34" charset="0"/>
                <a:cs typeface="Times New Roman" panose="02020603050405020304" pitchFamily="18" charset="0"/>
              </a:rPr>
              <a:t>Kommuner och lärosäten tillsammans</a:t>
            </a:r>
          </a:p>
          <a:p>
            <a:pPr marL="342900" lvl="0" indent="-342900">
              <a:buFont typeface="+mj-lt"/>
              <a:buAutoNum type="arabicPeriod"/>
            </a:pPr>
            <a:r>
              <a:rPr lang="sv-SE" sz="1800" kern="100" dirty="0">
                <a:effectLst/>
                <a:ea typeface="Calibri" panose="020F0502020204030204" pitchFamily="34" charset="0"/>
                <a:cs typeface="Times New Roman" panose="02020603050405020304" pitchFamily="18" charset="0"/>
              </a:rPr>
              <a:t>Lärosäten</a:t>
            </a:r>
          </a:p>
          <a:p>
            <a:pPr marL="342900" lvl="0" indent="-342900">
              <a:buFont typeface="+mj-lt"/>
              <a:buAutoNum type="arabicPeriod"/>
            </a:pPr>
            <a:r>
              <a:rPr lang="sv-SE" sz="1800" kern="100" dirty="0">
                <a:effectLst/>
                <a:ea typeface="Calibri" panose="020F0502020204030204" pitchFamily="34" charset="0"/>
                <a:cs typeface="Times New Roman" panose="02020603050405020304" pitchFamily="18" charset="0"/>
              </a:rPr>
              <a:t>RSS/FoU</a:t>
            </a:r>
          </a:p>
          <a:p>
            <a:pPr marL="342900" lvl="0" indent="-342900">
              <a:buFont typeface="+mj-lt"/>
              <a:buAutoNum type="arabicPeriod"/>
            </a:pPr>
            <a:r>
              <a:rPr lang="sv-SE" sz="1800" kern="100" dirty="0">
                <a:effectLst/>
                <a:ea typeface="Calibri" panose="020F0502020204030204" pitchFamily="34" charset="0"/>
                <a:cs typeface="Times New Roman" panose="02020603050405020304" pitchFamily="18" charset="0"/>
              </a:rPr>
              <a:t>SKR</a:t>
            </a:r>
          </a:p>
          <a:p>
            <a:endParaRPr lang="sv-SE" dirty="0"/>
          </a:p>
        </p:txBody>
      </p:sp>
      <p:sp>
        <p:nvSpPr>
          <p:cNvPr id="4" name="Platshållare för sidfot 3">
            <a:extLst>
              <a:ext uri="{FF2B5EF4-FFF2-40B4-BE49-F238E27FC236}">
                <a16:creationId xmlns:a16="http://schemas.microsoft.com/office/drawing/2014/main" id="{A6F30ECB-EBD6-E9E1-3CCA-5ABE26D47FB1}"/>
              </a:ext>
            </a:extLst>
          </p:cNvPr>
          <p:cNvSpPr>
            <a:spLocks noGrp="1"/>
          </p:cNvSpPr>
          <p:nvPr>
            <p:ph type="ftr" sz="quarter" idx="11"/>
          </p:nvPr>
        </p:nvSpPr>
        <p:spPr/>
        <p:txBody>
          <a:bodyPr/>
          <a:lstStyle/>
          <a:p>
            <a:r>
              <a:rPr lang="sv-SE"/>
              <a:t>Avdelningen för vård och omsorg</a:t>
            </a:r>
            <a:endParaRPr lang="sv-SE" dirty="0"/>
          </a:p>
        </p:txBody>
      </p:sp>
      <p:sp>
        <p:nvSpPr>
          <p:cNvPr id="5" name="Platshållare för datum 4">
            <a:extLst>
              <a:ext uri="{FF2B5EF4-FFF2-40B4-BE49-F238E27FC236}">
                <a16:creationId xmlns:a16="http://schemas.microsoft.com/office/drawing/2014/main" id="{EE6B0529-095F-2688-EFAC-B94F29AD1130}"/>
              </a:ext>
            </a:extLst>
          </p:cNvPr>
          <p:cNvSpPr>
            <a:spLocks noGrp="1"/>
          </p:cNvSpPr>
          <p:nvPr>
            <p:ph type="dt" sz="half" idx="10"/>
          </p:nvPr>
        </p:nvSpPr>
        <p:spPr/>
        <p:txBody>
          <a:bodyPr/>
          <a:lstStyle/>
          <a:p>
            <a:fld id="{355B9B65-E3B5-4EBD-948A-C701C0B90C43}" type="datetime1">
              <a:rPr lang="sv-SE" smtClean="0"/>
              <a:t>2023-10-12</a:t>
            </a:fld>
            <a:endParaRPr lang="sv-SE" dirty="0"/>
          </a:p>
        </p:txBody>
      </p:sp>
      <p:sp>
        <p:nvSpPr>
          <p:cNvPr id="6" name="Platshållare för bildnummer 5">
            <a:extLst>
              <a:ext uri="{FF2B5EF4-FFF2-40B4-BE49-F238E27FC236}">
                <a16:creationId xmlns:a16="http://schemas.microsoft.com/office/drawing/2014/main" id="{A38FA874-0D43-0450-5784-3E40750DFF52}"/>
              </a:ext>
            </a:extLst>
          </p:cNvPr>
          <p:cNvSpPr>
            <a:spLocks noGrp="1"/>
          </p:cNvSpPr>
          <p:nvPr>
            <p:ph type="sldNum" sz="quarter" idx="12"/>
          </p:nvPr>
        </p:nvSpPr>
        <p:spPr/>
        <p:txBody>
          <a:bodyPr/>
          <a:lstStyle/>
          <a:p>
            <a:fld id="{2DBAD975-63FF-4468-AC34-025F73E043F9}" type="slidenum">
              <a:rPr lang="sv-SE" smtClean="0"/>
              <a:t>24</a:t>
            </a:fld>
            <a:endParaRPr lang="sv-SE" dirty="0"/>
          </a:p>
        </p:txBody>
      </p:sp>
    </p:spTree>
    <p:extLst>
      <p:ext uri="{BB962C8B-B14F-4D97-AF65-F5344CB8AC3E}">
        <p14:creationId xmlns:p14="http://schemas.microsoft.com/office/powerpoint/2010/main" val="27003121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D17865E-6D38-0EC9-9E6B-707BBDF29EAC}"/>
              </a:ext>
            </a:extLst>
          </p:cNvPr>
          <p:cNvSpPr>
            <a:spLocks noGrp="1"/>
          </p:cNvSpPr>
          <p:nvPr>
            <p:ph type="title"/>
          </p:nvPr>
        </p:nvSpPr>
        <p:spPr/>
        <p:txBody>
          <a:bodyPr/>
          <a:lstStyle/>
          <a:p>
            <a:r>
              <a:rPr lang="sv-SE" dirty="0"/>
              <a:t>När förslagen börjar bli klara…</a:t>
            </a:r>
          </a:p>
        </p:txBody>
      </p:sp>
      <p:sp>
        <p:nvSpPr>
          <p:cNvPr id="3" name="Platshållare för innehåll 2">
            <a:extLst>
              <a:ext uri="{FF2B5EF4-FFF2-40B4-BE49-F238E27FC236}">
                <a16:creationId xmlns:a16="http://schemas.microsoft.com/office/drawing/2014/main" id="{19DBC200-A3E2-8103-4645-48CD750F1CEC}"/>
              </a:ext>
            </a:extLst>
          </p:cNvPr>
          <p:cNvSpPr>
            <a:spLocks noGrp="1"/>
          </p:cNvSpPr>
          <p:nvPr>
            <p:ph idx="1"/>
          </p:nvPr>
        </p:nvSpPr>
        <p:spPr/>
        <p:txBody>
          <a:bodyPr/>
          <a:lstStyle/>
          <a:p>
            <a:pPr marL="30163" indent="0">
              <a:buNone/>
            </a:pPr>
            <a:r>
              <a:rPr lang="sv-SE" dirty="0"/>
              <a:t>…delar vi gärna dem med er i Projectplace = en möjlighet för er att tycka till om ni vill! Inget måste!</a:t>
            </a:r>
          </a:p>
          <a:p>
            <a:pPr marL="30163" indent="0">
              <a:buNone/>
            </a:pPr>
            <a:endParaRPr lang="sv-SE" dirty="0"/>
          </a:p>
          <a:p>
            <a:pPr>
              <a:buFont typeface="Wingdings" panose="05000000000000000000" pitchFamily="2" charset="2"/>
              <a:buChar char="Ø"/>
            </a:pPr>
            <a:r>
              <a:rPr lang="sv-SE" dirty="0"/>
              <a:t> Troligen under perioden 13 oktober – 23 oktober</a:t>
            </a:r>
          </a:p>
          <a:p>
            <a:pPr>
              <a:buFont typeface="Wingdings" panose="05000000000000000000" pitchFamily="2" charset="2"/>
              <a:buChar char="Ø"/>
            </a:pPr>
            <a:r>
              <a:rPr lang="sv-SE" dirty="0"/>
              <a:t> Bra förslag, dåligt förslag, kommentar, stöd vi behöver…</a:t>
            </a:r>
          </a:p>
        </p:txBody>
      </p:sp>
      <p:sp>
        <p:nvSpPr>
          <p:cNvPr id="4" name="Platshållare för sidfot 3">
            <a:extLst>
              <a:ext uri="{FF2B5EF4-FFF2-40B4-BE49-F238E27FC236}">
                <a16:creationId xmlns:a16="http://schemas.microsoft.com/office/drawing/2014/main" id="{69B0CD38-F93F-5B81-3152-24C9E17A6A09}"/>
              </a:ext>
            </a:extLst>
          </p:cNvPr>
          <p:cNvSpPr>
            <a:spLocks noGrp="1"/>
          </p:cNvSpPr>
          <p:nvPr>
            <p:ph type="ftr" sz="quarter" idx="11"/>
          </p:nvPr>
        </p:nvSpPr>
        <p:spPr/>
        <p:txBody>
          <a:bodyPr/>
          <a:lstStyle/>
          <a:p>
            <a:r>
              <a:rPr lang="sv-SE"/>
              <a:t>Avdelningen för vård och omsorg</a:t>
            </a:r>
            <a:endParaRPr lang="sv-SE" dirty="0"/>
          </a:p>
        </p:txBody>
      </p:sp>
      <p:sp>
        <p:nvSpPr>
          <p:cNvPr id="5" name="Platshållare för datum 4">
            <a:extLst>
              <a:ext uri="{FF2B5EF4-FFF2-40B4-BE49-F238E27FC236}">
                <a16:creationId xmlns:a16="http://schemas.microsoft.com/office/drawing/2014/main" id="{F24AB553-B48E-0FE9-C0E9-8CD7F3EE0209}"/>
              </a:ext>
            </a:extLst>
          </p:cNvPr>
          <p:cNvSpPr>
            <a:spLocks noGrp="1"/>
          </p:cNvSpPr>
          <p:nvPr>
            <p:ph type="dt" sz="half" idx="10"/>
          </p:nvPr>
        </p:nvSpPr>
        <p:spPr/>
        <p:txBody>
          <a:bodyPr/>
          <a:lstStyle/>
          <a:p>
            <a:fld id="{355B9B65-E3B5-4EBD-948A-C701C0B90C43}" type="datetime1">
              <a:rPr lang="sv-SE" smtClean="0"/>
              <a:t>2023-10-12</a:t>
            </a:fld>
            <a:endParaRPr lang="sv-SE" dirty="0"/>
          </a:p>
        </p:txBody>
      </p:sp>
      <p:sp>
        <p:nvSpPr>
          <p:cNvPr id="6" name="Platshållare för bildnummer 5">
            <a:extLst>
              <a:ext uri="{FF2B5EF4-FFF2-40B4-BE49-F238E27FC236}">
                <a16:creationId xmlns:a16="http://schemas.microsoft.com/office/drawing/2014/main" id="{D412E745-81A6-99E7-675A-FB33328D8CA0}"/>
              </a:ext>
            </a:extLst>
          </p:cNvPr>
          <p:cNvSpPr>
            <a:spLocks noGrp="1"/>
          </p:cNvSpPr>
          <p:nvPr>
            <p:ph type="sldNum" sz="quarter" idx="12"/>
          </p:nvPr>
        </p:nvSpPr>
        <p:spPr/>
        <p:txBody>
          <a:bodyPr/>
          <a:lstStyle/>
          <a:p>
            <a:fld id="{2DBAD975-63FF-4468-AC34-025F73E043F9}" type="slidenum">
              <a:rPr lang="sv-SE" smtClean="0"/>
              <a:t>25</a:t>
            </a:fld>
            <a:endParaRPr lang="sv-SE" dirty="0"/>
          </a:p>
        </p:txBody>
      </p:sp>
    </p:spTree>
    <p:extLst>
      <p:ext uri="{BB962C8B-B14F-4D97-AF65-F5344CB8AC3E}">
        <p14:creationId xmlns:p14="http://schemas.microsoft.com/office/powerpoint/2010/main" val="20831650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D24473-D0C3-4994-0A47-AFE998A1E90E}"/>
              </a:ext>
            </a:extLst>
          </p:cNvPr>
          <p:cNvSpPr>
            <a:spLocks noGrp="1"/>
          </p:cNvSpPr>
          <p:nvPr>
            <p:ph type="title"/>
          </p:nvPr>
        </p:nvSpPr>
        <p:spPr/>
        <p:txBody>
          <a:bodyPr/>
          <a:lstStyle/>
          <a:p>
            <a:r>
              <a:rPr lang="sv-SE" dirty="0"/>
              <a:t>Frågor?</a:t>
            </a:r>
            <a:br>
              <a:rPr lang="sv-SE" dirty="0"/>
            </a:br>
            <a:r>
              <a:rPr lang="sv-SE" dirty="0"/>
              <a:t/>
            </a:r>
            <a:br>
              <a:rPr lang="sv-SE" dirty="0"/>
            </a:br>
            <a:r>
              <a:rPr lang="sv-SE" sz="2400" b="0" dirty="0"/>
              <a:t>Helena.wiklund@skr.se</a:t>
            </a:r>
          </a:p>
        </p:txBody>
      </p:sp>
      <p:sp>
        <p:nvSpPr>
          <p:cNvPr id="3" name="Platshållare för sidfot 2">
            <a:extLst>
              <a:ext uri="{FF2B5EF4-FFF2-40B4-BE49-F238E27FC236}">
                <a16:creationId xmlns:a16="http://schemas.microsoft.com/office/drawing/2014/main" id="{E2CF8DE0-CD7D-4E4B-F7FA-DC405358161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Platshållare för datum 3">
            <a:extLst>
              <a:ext uri="{FF2B5EF4-FFF2-40B4-BE49-F238E27FC236}">
                <a16:creationId xmlns:a16="http://schemas.microsoft.com/office/drawing/2014/main" id="{5BDDFFDB-FFD2-6335-DC76-5518AD033AD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1A3911-B11F-4A39-B2DA-D5A8A121F24C}" type="datetime1">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55BEE1A8-DABD-93E9-FE49-31DE644DE8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76219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sidfot 3">
            <a:extLst>
              <a:ext uri="{FF2B5EF4-FFF2-40B4-BE49-F238E27FC236}">
                <a16:creationId xmlns:a16="http://schemas.microsoft.com/office/drawing/2014/main" id="{7427968B-C130-12D3-F858-ECBF659C8D3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0FB0BBA4-622D-EE10-89C2-34A8CB0B93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5B9B65-E3B5-4EBD-948A-C701C0B90C43}"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75069C18-256D-1CEB-ADF5-80BC88E60A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Rubrik 4">
            <a:extLst>
              <a:ext uri="{FF2B5EF4-FFF2-40B4-BE49-F238E27FC236}">
                <a16:creationId xmlns:a16="http://schemas.microsoft.com/office/drawing/2014/main" id="{4398190E-9257-0F85-A6DE-41D29DBD6D19}"/>
              </a:ext>
            </a:extLst>
          </p:cNvPr>
          <p:cNvSpPr>
            <a:spLocks noGrp="1"/>
          </p:cNvSpPr>
          <p:nvPr>
            <p:ph type="title"/>
          </p:nvPr>
        </p:nvSpPr>
        <p:spPr>
          <a:xfrm>
            <a:off x="663575" y="874713"/>
            <a:ext cx="9610725" cy="1231900"/>
          </a:xfrm>
        </p:spPr>
        <p:txBody>
          <a:bodyPr/>
          <a:lstStyle/>
          <a:p>
            <a:r>
              <a:rPr lang="sv-SE" dirty="0"/>
              <a:t>Syfte med undersökningen</a:t>
            </a:r>
          </a:p>
        </p:txBody>
      </p:sp>
      <p:pic>
        <p:nvPicPr>
          <p:cNvPr id="9" name="Platshållare för innehåll 4" descr="Frågetecken på grön pastellbakgrund">
            <a:extLst>
              <a:ext uri="{FF2B5EF4-FFF2-40B4-BE49-F238E27FC236}">
                <a16:creationId xmlns:a16="http://schemas.microsoft.com/office/drawing/2014/main" id="{F54EE887-9F60-ED01-867B-093EDB2F698E}"/>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28630" y="2560320"/>
            <a:ext cx="4099137" cy="3074353"/>
          </a:xfrm>
          <a:prstGeom prst="rect">
            <a:avLst/>
          </a:prstGeom>
        </p:spPr>
      </p:pic>
      <p:sp>
        <p:nvSpPr>
          <p:cNvPr id="10" name="Platshållare för innehåll 5">
            <a:extLst>
              <a:ext uri="{FF2B5EF4-FFF2-40B4-BE49-F238E27FC236}">
                <a16:creationId xmlns:a16="http://schemas.microsoft.com/office/drawing/2014/main" id="{0CF2B23B-1094-6382-F9A2-73E5B3967BA1}"/>
              </a:ext>
            </a:extLst>
          </p:cNvPr>
          <p:cNvSpPr>
            <a:spLocks noGrp="1"/>
          </p:cNvSpPr>
          <p:nvPr>
            <p:ph idx="1"/>
          </p:nvPr>
        </p:nvSpPr>
        <p:spPr>
          <a:xfrm>
            <a:off x="731096" y="2560320"/>
            <a:ext cx="6374554" cy="2667695"/>
          </a:xfrm>
        </p:spPr>
        <p:txBody>
          <a:bodyPr/>
          <a:lstStyle/>
          <a:p>
            <a:pPr marL="30163" indent="0">
              <a:buNone/>
            </a:pPr>
            <a:r>
              <a:rPr lang="sv-SE" sz="2400" dirty="0"/>
              <a:t>Undersöka hur chefer inom socialtjänsten uppfattar dagens socionomprogram – behöver socionomprogrammet utvecklas och anpassas efter samhällsutvecklingen och hur i så fall?</a:t>
            </a:r>
          </a:p>
          <a:p>
            <a:pPr marL="30163" indent="0">
              <a:buNone/>
            </a:pPr>
            <a:endParaRPr lang="sv-SE" dirty="0"/>
          </a:p>
          <a:p>
            <a:endParaRPr lang="sv-SE" dirty="0"/>
          </a:p>
          <a:p>
            <a:endParaRPr lang="sv-SE" dirty="0"/>
          </a:p>
          <a:p>
            <a:pPr marL="30163" indent="0">
              <a:buNone/>
            </a:pP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sv-SE" dirty="0"/>
          </a:p>
          <a:p>
            <a:endParaRPr lang="sv-SE" dirty="0"/>
          </a:p>
        </p:txBody>
      </p:sp>
    </p:spTree>
    <p:extLst>
      <p:ext uri="{BB962C8B-B14F-4D97-AF65-F5344CB8AC3E}">
        <p14:creationId xmlns:p14="http://schemas.microsoft.com/office/powerpoint/2010/main" val="4038766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sidfot 3">
            <a:extLst>
              <a:ext uri="{FF2B5EF4-FFF2-40B4-BE49-F238E27FC236}">
                <a16:creationId xmlns:a16="http://schemas.microsoft.com/office/drawing/2014/main" id="{7427968B-C130-12D3-F858-ECBF659C8D3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0FB0BBA4-622D-EE10-89C2-34A8CB0B93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5B9B65-E3B5-4EBD-948A-C701C0B90C43}"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75069C18-256D-1CEB-ADF5-80BC88E60A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Rubrik 1">
            <a:extLst>
              <a:ext uri="{FF2B5EF4-FFF2-40B4-BE49-F238E27FC236}">
                <a16:creationId xmlns:a16="http://schemas.microsoft.com/office/drawing/2014/main" id="{DC545B09-D4EB-E345-5FEB-E3A91B951194}"/>
              </a:ext>
            </a:extLst>
          </p:cNvPr>
          <p:cNvSpPr>
            <a:spLocks noGrp="1"/>
          </p:cNvSpPr>
          <p:nvPr>
            <p:ph type="title"/>
          </p:nvPr>
        </p:nvSpPr>
        <p:spPr>
          <a:xfrm>
            <a:off x="663575" y="874713"/>
            <a:ext cx="9610725" cy="1231900"/>
          </a:xfrm>
        </p:spPr>
        <p:txBody>
          <a:bodyPr/>
          <a:lstStyle/>
          <a:p>
            <a:r>
              <a:rPr lang="sv-SE" dirty="0"/>
              <a:t>Mål 2023</a:t>
            </a:r>
          </a:p>
        </p:txBody>
      </p:sp>
      <p:sp>
        <p:nvSpPr>
          <p:cNvPr id="8" name="Platshållare för innehåll 2">
            <a:extLst>
              <a:ext uri="{FF2B5EF4-FFF2-40B4-BE49-F238E27FC236}">
                <a16:creationId xmlns:a16="http://schemas.microsoft.com/office/drawing/2014/main" id="{F212F11E-2EC9-9271-A823-0FC53BE79A40}"/>
              </a:ext>
            </a:extLst>
          </p:cNvPr>
          <p:cNvSpPr>
            <a:spLocks noGrp="1"/>
          </p:cNvSpPr>
          <p:nvPr>
            <p:ph idx="1"/>
          </p:nvPr>
        </p:nvSpPr>
        <p:spPr>
          <a:xfrm>
            <a:off x="663575" y="2495550"/>
            <a:ext cx="9610725" cy="3738563"/>
          </a:xfrm>
        </p:spPr>
        <p:txBody>
          <a:bodyPr/>
          <a:lstStyle/>
          <a:p>
            <a:r>
              <a:rPr lang="sv-SE" dirty="0"/>
              <a:t>SKR har genom undersökningen fått </a:t>
            </a:r>
            <a:r>
              <a:rPr lang="sv-SE" b="1" dirty="0"/>
              <a:t>en aktuell bild </a:t>
            </a:r>
            <a:r>
              <a:rPr lang="sv-SE" dirty="0"/>
              <a:t>av hur chefer inom socialtjänsten uppfattar socionomprogrammet </a:t>
            </a:r>
          </a:p>
          <a:p>
            <a:r>
              <a:rPr lang="sv-SE" dirty="0"/>
              <a:t>Resultatet från undersökningen har förankrats internt i relevanta medlemsnätverk och i beredningar </a:t>
            </a:r>
          </a:p>
          <a:p>
            <a:r>
              <a:rPr lang="sv-SE" dirty="0"/>
              <a:t>Utifrån resultatet, kan berörda parter ha bjudits in till dialog, inför ett</a:t>
            </a:r>
            <a:r>
              <a:rPr lang="sv-SE" sz="2400" dirty="0"/>
              <a:t> påverkansarbete 2024 avseende vilka förändringar som behövs vad gäller socionomprogrammet</a:t>
            </a:r>
          </a:p>
          <a:p>
            <a:endParaRPr lang="sv-SE" dirty="0"/>
          </a:p>
        </p:txBody>
      </p:sp>
    </p:spTree>
    <p:extLst>
      <p:ext uri="{BB962C8B-B14F-4D97-AF65-F5344CB8AC3E}">
        <p14:creationId xmlns:p14="http://schemas.microsoft.com/office/powerpoint/2010/main" val="29473086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sidfot 3">
            <a:extLst>
              <a:ext uri="{FF2B5EF4-FFF2-40B4-BE49-F238E27FC236}">
                <a16:creationId xmlns:a16="http://schemas.microsoft.com/office/drawing/2014/main" id="{7427968B-C130-12D3-F858-ECBF659C8D3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datum 4">
            <a:extLst>
              <a:ext uri="{FF2B5EF4-FFF2-40B4-BE49-F238E27FC236}">
                <a16:creationId xmlns:a16="http://schemas.microsoft.com/office/drawing/2014/main" id="{0FB0BBA4-622D-EE10-89C2-34A8CB0B93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55B9B65-E3B5-4EBD-948A-C701C0B90C43}"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75069C18-256D-1CEB-ADF5-80BC88E60A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Rubrik 2">
            <a:extLst>
              <a:ext uri="{FF2B5EF4-FFF2-40B4-BE49-F238E27FC236}">
                <a16:creationId xmlns:a16="http://schemas.microsoft.com/office/drawing/2014/main" id="{90F44F84-4FCD-3097-67E4-5B6E90DC39B9}"/>
              </a:ext>
            </a:extLst>
          </p:cNvPr>
          <p:cNvSpPr>
            <a:spLocks noGrp="1"/>
          </p:cNvSpPr>
          <p:nvPr>
            <p:ph type="title"/>
          </p:nvPr>
        </p:nvSpPr>
        <p:spPr>
          <a:xfrm>
            <a:off x="663575" y="874713"/>
            <a:ext cx="9610725" cy="1231900"/>
          </a:xfrm>
        </p:spPr>
        <p:txBody>
          <a:bodyPr/>
          <a:lstStyle/>
          <a:p>
            <a:r>
              <a:rPr lang="sv-SE" dirty="0"/>
              <a:t>Upplägg och aktiviteter</a:t>
            </a:r>
          </a:p>
        </p:txBody>
      </p:sp>
      <p:graphicFrame>
        <p:nvGraphicFramePr>
          <p:cNvPr id="10" name="Platshållare för innehåll 3">
            <a:extLst>
              <a:ext uri="{FF2B5EF4-FFF2-40B4-BE49-F238E27FC236}">
                <a16:creationId xmlns:a16="http://schemas.microsoft.com/office/drawing/2014/main" id="{8B3A070D-9C66-40E7-80E4-2A5434494BDA}"/>
              </a:ext>
            </a:extLst>
          </p:cNvPr>
          <p:cNvGraphicFramePr>
            <a:graphicFrameLocks noGrp="1"/>
          </p:cNvGraphicFramePr>
          <p:nvPr>
            <p:ph idx="1"/>
          </p:nvPr>
        </p:nvGraphicFramePr>
        <p:xfrm>
          <a:off x="1040617" y="1888281"/>
          <a:ext cx="9610725" cy="3738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775031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D466C6A-98FD-4181-EE65-8C2D18014697}"/>
              </a:ext>
            </a:extLst>
          </p:cNvPr>
          <p:cNvSpPr>
            <a:spLocks noGrp="1"/>
          </p:cNvSpPr>
          <p:nvPr>
            <p:ph type="title"/>
          </p:nvPr>
        </p:nvSpPr>
        <p:spPr/>
        <p:txBody>
          <a:bodyPr/>
          <a:lstStyle/>
          <a:p>
            <a:r>
              <a:rPr lang="sv-SE" dirty="0"/>
              <a:t>Nuläge undersökningen</a:t>
            </a:r>
          </a:p>
        </p:txBody>
      </p:sp>
      <p:sp>
        <p:nvSpPr>
          <p:cNvPr id="3" name="Platshållare för innehåll 2">
            <a:extLst>
              <a:ext uri="{FF2B5EF4-FFF2-40B4-BE49-F238E27FC236}">
                <a16:creationId xmlns:a16="http://schemas.microsoft.com/office/drawing/2014/main" id="{05DDAD31-63FF-9F5B-238B-355C1CFA5731}"/>
              </a:ext>
            </a:extLst>
          </p:cNvPr>
          <p:cNvSpPr>
            <a:spLocks noGrp="1"/>
          </p:cNvSpPr>
          <p:nvPr>
            <p:ph idx="1"/>
          </p:nvPr>
        </p:nvSpPr>
        <p:spPr>
          <a:xfrm>
            <a:off x="664233" y="2244800"/>
            <a:ext cx="9609825" cy="3738598"/>
          </a:xfrm>
        </p:spPr>
        <p:txBody>
          <a:bodyPr/>
          <a:lstStyle/>
          <a:p>
            <a:pPr>
              <a:buFont typeface="Wingdings" panose="05000000000000000000" pitchFamily="2" charset="2"/>
              <a:buChar char="§"/>
            </a:pPr>
            <a:r>
              <a:rPr lang="sv-SE" dirty="0"/>
              <a:t>Fokusgrupper med ca 50 första linjens chefer genomförda </a:t>
            </a:r>
          </a:p>
          <a:p>
            <a:pPr>
              <a:buFont typeface="Wingdings" panose="05000000000000000000" pitchFamily="2" charset="2"/>
              <a:buChar char="§"/>
            </a:pPr>
            <a:r>
              <a:rPr lang="sv-SE" dirty="0"/>
              <a:t>Rapport om resultat från fokusgrupperna är nu färdigställd men ännu inte publicerad (publiceras tillsammans med huvudrapport)</a:t>
            </a:r>
          </a:p>
          <a:p>
            <a:pPr>
              <a:buFont typeface="Wingdings" panose="05000000000000000000" pitchFamily="2" charset="2"/>
              <a:buChar char="§"/>
            </a:pPr>
            <a:r>
              <a:rPr lang="sv-SE" dirty="0"/>
              <a:t>September/oktober: förankring i medlemsnätverk och analys av resultat	   </a:t>
            </a:r>
          </a:p>
          <a:p>
            <a:pPr>
              <a:buFont typeface="Wingdings" panose="05000000000000000000" pitchFamily="2" charset="2"/>
              <a:buChar char="§"/>
            </a:pPr>
            <a:r>
              <a:rPr lang="sv-SE" dirty="0"/>
              <a:t>Ta fram förslag till påverkansarbete – huvudrapport klar slutet av november</a:t>
            </a:r>
          </a:p>
          <a:p>
            <a:pPr>
              <a:buFont typeface="Wingdings" panose="05000000000000000000" pitchFamily="2" charset="2"/>
              <a:buChar char="§"/>
            </a:pPr>
            <a:r>
              <a:rPr lang="sv-SE" dirty="0"/>
              <a:t>Politiska beredningar i december (huvudrapport publiceras därefter)</a:t>
            </a:r>
          </a:p>
        </p:txBody>
      </p:sp>
      <p:sp>
        <p:nvSpPr>
          <p:cNvPr id="4" name="Platshållare för sidfot 3">
            <a:extLst>
              <a:ext uri="{FF2B5EF4-FFF2-40B4-BE49-F238E27FC236}">
                <a16:creationId xmlns:a16="http://schemas.microsoft.com/office/drawing/2014/main" id="{500EC5A8-ADF7-297F-0ED7-30F22E2D2E09}"/>
              </a:ext>
            </a:extLst>
          </p:cNvPr>
          <p:cNvSpPr>
            <a:spLocks noGrp="1"/>
          </p:cNvSpPr>
          <p:nvPr>
            <p:ph type="ftr" sz="quarter" idx="11"/>
          </p:nvPr>
        </p:nvSpPr>
        <p:spPr/>
        <p:txBody>
          <a:bodyPr/>
          <a:lstStyle/>
          <a:p>
            <a:r>
              <a:rPr lang="sv-SE"/>
              <a:t>Avdelningen för vård och omsorg</a:t>
            </a:r>
            <a:endParaRPr lang="sv-SE" dirty="0"/>
          </a:p>
        </p:txBody>
      </p:sp>
      <p:sp>
        <p:nvSpPr>
          <p:cNvPr id="5" name="Platshållare för datum 4">
            <a:extLst>
              <a:ext uri="{FF2B5EF4-FFF2-40B4-BE49-F238E27FC236}">
                <a16:creationId xmlns:a16="http://schemas.microsoft.com/office/drawing/2014/main" id="{142952BB-4CC0-EC2D-E402-F8F5A23327A3}"/>
              </a:ext>
            </a:extLst>
          </p:cNvPr>
          <p:cNvSpPr>
            <a:spLocks noGrp="1"/>
          </p:cNvSpPr>
          <p:nvPr>
            <p:ph type="dt" sz="half" idx="10"/>
          </p:nvPr>
        </p:nvSpPr>
        <p:spPr/>
        <p:txBody>
          <a:bodyPr/>
          <a:lstStyle/>
          <a:p>
            <a:fld id="{355B9B65-E3B5-4EBD-948A-C701C0B90C43}" type="datetime1">
              <a:rPr lang="sv-SE" smtClean="0"/>
              <a:t>2023-10-12</a:t>
            </a:fld>
            <a:endParaRPr lang="sv-SE" dirty="0"/>
          </a:p>
        </p:txBody>
      </p:sp>
      <p:sp>
        <p:nvSpPr>
          <p:cNvPr id="6" name="Platshållare för bildnummer 5">
            <a:extLst>
              <a:ext uri="{FF2B5EF4-FFF2-40B4-BE49-F238E27FC236}">
                <a16:creationId xmlns:a16="http://schemas.microsoft.com/office/drawing/2014/main" id="{84788809-7B27-17E1-DFFC-7C20893AC814}"/>
              </a:ext>
            </a:extLst>
          </p:cNvPr>
          <p:cNvSpPr>
            <a:spLocks noGrp="1"/>
          </p:cNvSpPr>
          <p:nvPr>
            <p:ph type="sldNum" sz="quarter" idx="12"/>
          </p:nvPr>
        </p:nvSpPr>
        <p:spPr/>
        <p:txBody>
          <a:bodyPr/>
          <a:lstStyle/>
          <a:p>
            <a:fld id="{2DBAD975-63FF-4468-AC34-025F73E043F9}" type="slidenum">
              <a:rPr lang="sv-SE" smtClean="0"/>
              <a:t>6</a:t>
            </a:fld>
            <a:endParaRPr lang="sv-SE" dirty="0"/>
          </a:p>
        </p:txBody>
      </p:sp>
      <p:sp>
        <p:nvSpPr>
          <p:cNvPr id="9" name="Pil: höger 8">
            <a:extLst>
              <a:ext uri="{FF2B5EF4-FFF2-40B4-BE49-F238E27FC236}">
                <a16:creationId xmlns:a16="http://schemas.microsoft.com/office/drawing/2014/main" id="{A2747ADA-A9C0-9A7F-C84D-5935EFEDAD38}"/>
              </a:ext>
            </a:extLst>
          </p:cNvPr>
          <p:cNvSpPr/>
          <p:nvPr/>
        </p:nvSpPr>
        <p:spPr>
          <a:xfrm>
            <a:off x="2219325" y="4037899"/>
            <a:ext cx="876300" cy="37147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2030310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EDE02A-DBE1-79AF-E225-784F5CED3A8F}"/>
              </a:ext>
            </a:extLst>
          </p:cNvPr>
          <p:cNvSpPr>
            <a:spLocks noGrp="1"/>
          </p:cNvSpPr>
          <p:nvPr>
            <p:ph type="title"/>
          </p:nvPr>
        </p:nvSpPr>
        <p:spPr/>
        <p:txBody>
          <a:bodyPr/>
          <a:lstStyle/>
          <a:p>
            <a:r>
              <a:rPr lang="sv-SE" sz="3600" dirty="0"/>
              <a:t>Tidplan förankring av resultat och fortsatt planering av vad SKR särskilt vill lyfta 2024</a:t>
            </a:r>
          </a:p>
        </p:txBody>
      </p:sp>
      <p:graphicFrame>
        <p:nvGraphicFramePr>
          <p:cNvPr id="4" name="Diagram 3">
            <a:extLst>
              <a:ext uri="{FF2B5EF4-FFF2-40B4-BE49-F238E27FC236}">
                <a16:creationId xmlns:a16="http://schemas.microsoft.com/office/drawing/2014/main" id="{3FA5B2FA-2B4A-00DD-042E-6386D15CA51E}"/>
              </a:ext>
            </a:extLst>
          </p:cNvPr>
          <p:cNvGraphicFramePr/>
          <p:nvPr/>
        </p:nvGraphicFramePr>
        <p:xfrm>
          <a:off x="922563" y="2503714"/>
          <a:ext cx="9926617" cy="15964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ruta 4">
            <a:extLst>
              <a:ext uri="{FF2B5EF4-FFF2-40B4-BE49-F238E27FC236}">
                <a16:creationId xmlns:a16="http://schemas.microsoft.com/office/drawing/2014/main" id="{B7273261-FA87-F946-54FD-78CA214081DC}"/>
              </a:ext>
            </a:extLst>
          </p:cNvPr>
          <p:cNvSpPr txBox="1"/>
          <p:nvPr/>
        </p:nvSpPr>
        <p:spPr>
          <a:xfrm>
            <a:off x="1200122" y="4760328"/>
            <a:ext cx="5180129" cy="73866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Fortsatt dialog med SSR, Vision, FSSOC och FSS under hösten för eventuellt gemensamt påverkansarbete</a:t>
            </a:r>
            <a:br>
              <a:rPr kumimoji="0" lang="sv-SE" sz="1400" b="0" i="0" u="none" strike="noStrike" kern="1200" cap="none" spc="0" normalizeH="0" baseline="0" noProof="0" dirty="0">
                <a:ln>
                  <a:noFill/>
                </a:ln>
                <a:solidFill>
                  <a:prstClr val="black"/>
                </a:solidFill>
                <a:effectLst/>
                <a:uLnTx/>
                <a:uFillTx/>
                <a:latin typeface="Arial"/>
                <a:ea typeface="+mn-ea"/>
                <a:cs typeface="+mn-cs"/>
              </a:rPr>
            </a:b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86126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a:extLst>
              <a:ext uri="{FF2B5EF4-FFF2-40B4-BE49-F238E27FC236}">
                <a16:creationId xmlns:a16="http://schemas.microsoft.com/office/drawing/2014/main" id="{F665C18D-53DE-09BD-32F5-517AFA15414D}"/>
              </a:ext>
            </a:extLst>
          </p:cNvPr>
          <p:cNvSpPr>
            <a:spLocks noGrp="1"/>
          </p:cNvSpPr>
          <p:nvPr>
            <p:ph type="title"/>
          </p:nvPr>
        </p:nvSpPr>
        <p:spPr>
          <a:xfrm>
            <a:off x="666750" y="2746375"/>
            <a:ext cx="9607550" cy="1965325"/>
          </a:xfrm>
        </p:spPr>
        <p:txBody>
          <a:bodyPr/>
          <a:lstStyle/>
          <a:p>
            <a:r>
              <a:rPr lang="sv-SE" dirty="0"/>
              <a:t>Fokusgrupperna</a:t>
            </a:r>
          </a:p>
        </p:txBody>
      </p:sp>
      <p:sp>
        <p:nvSpPr>
          <p:cNvPr id="5" name="Platshållare för text 1">
            <a:extLst>
              <a:ext uri="{FF2B5EF4-FFF2-40B4-BE49-F238E27FC236}">
                <a16:creationId xmlns:a16="http://schemas.microsoft.com/office/drawing/2014/main" id="{446EBE96-9349-BFB0-AF65-C263745B26B5}"/>
              </a:ext>
            </a:extLst>
          </p:cNvPr>
          <p:cNvSpPr>
            <a:spLocks noGrp="1"/>
          </p:cNvSpPr>
          <p:nvPr>
            <p:ph type="body" idx="1"/>
          </p:nvPr>
        </p:nvSpPr>
        <p:spPr>
          <a:xfrm>
            <a:off x="666750" y="4810125"/>
            <a:ext cx="9607550" cy="1427163"/>
          </a:xfrm>
        </p:spPr>
        <p:txBody>
          <a:bodyPr/>
          <a:lstStyle/>
          <a:p>
            <a:r>
              <a:rPr lang="sv-SE" sz="2400" dirty="0"/>
              <a:t>Februari – mars 2023</a:t>
            </a:r>
          </a:p>
        </p:txBody>
      </p:sp>
      <p:sp>
        <p:nvSpPr>
          <p:cNvPr id="6" name="Platshållare för datum 5">
            <a:extLst>
              <a:ext uri="{FF2B5EF4-FFF2-40B4-BE49-F238E27FC236}">
                <a16:creationId xmlns:a16="http://schemas.microsoft.com/office/drawing/2014/main" id="{1D132A7A-31FE-D553-78D8-827CDA1D451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20FD01D-E217-4E95-9000-DD71391EE35C}"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sidfot 6">
            <a:extLst>
              <a:ext uri="{FF2B5EF4-FFF2-40B4-BE49-F238E27FC236}">
                <a16:creationId xmlns:a16="http://schemas.microsoft.com/office/drawing/2014/main" id="{B7698194-52F0-45D0-0625-5C5D9FF6150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bildnummer 7">
            <a:extLst>
              <a:ext uri="{FF2B5EF4-FFF2-40B4-BE49-F238E27FC236}">
                <a16:creationId xmlns:a16="http://schemas.microsoft.com/office/drawing/2014/main" id="{0C4219FA-7838-8DFE-BFAD-767119FD405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63944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3CD030A-F445-97D9-3FA5-242A7D973779}"/>
              </a:ext>
            </a:extLst>
          </p:cNvPr>
          <p:cNvSpPr>
            <a:spLocks noGrp="1"/>
          </p:cNvSpPr>
          <p:nvPr>
            <p:ph type="title"/>
          </p:nvPr>
        </p:nvSpPr>
        <p:spPr>
          <a:xfrm>
            <a:off x="663575" y="874713"/>
            <a:ext cx="9610725" cy="1231900"/>
          </a:xfrm>
        </p:spPr>
        <p:txBody>
          <a:bodyPr vert="horz"/>
          <a:lstStyle/>
          <a:p>
            <a:r>
              <a:rPr lang="sv-SE" sz="3200" dirty="0"/>
              <a:t>Ca 50 första linjens chefer/arbetsledare deltog vid 5 fokusgrupper, från 14 kommuner</a:t>
            </a:r>
          </a:p>
        </p:txBody>
      </p:sp>
      <p:sp>
        <p:nvSpPr>
          <p:cNvPr id="5" name="Rectangle: Rounded Corners 10">
            <a:extLst>
              <a:ext uri="{FF2B5EF4-FFF2-40B4-BE49-F238E27FC236}">
                <a16:creationId xmlns:a16="http://schemas.microsoft.com/office/drawing/2014/main" id="{D16A61FF-F686-80AC-7CCC-AB4951DC5E3E}"/>
              </a:ext>
            </a:extLst>
          </p:cNvPr>
          <p:cNvSpPr/>
          <p:nvPr/>
        </p:nvSpPr>
        <p:spPr>
          <a:xfrm>
            <a:off x="7845049" y="2495204"/>
            <a:ext cx="2344647" cy="3603206"/>
          </a:xfrm>
          <a:prstGeom prst="roundRect">
            <a:avLst/>
          </a:prstGeom>
          <a:ln w="19050"/>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Ale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Arial"/>
              </a:rPr>
              <a:t>Helsingborgs stad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Kalmar kommu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Arial"/>
              </a:rPr>
              <a:t>Karlskrona kommu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Arial"/>
              </a:rPr>
              <a:t>Luleå kommu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Arial"/>
              </a:rPr>
              <a:t>Malmö stad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Mora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Norrköpings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Region Gotland</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Sandvikens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lt"/>
                <a:cs typeface="Arial"/>
              </a:rPr>
              <a:t>Stockholms stad</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Sunne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err="1">
                <a:ln>
                  <a:noFill/>
                </a:ln>
                <a:solidFill>
                  <a:prstClr val="black"/>
                </a:solidFill>
                <a:effectLst/>
                <a:uLnTx/>
                <a:uFillTx/>
                <a:latin typeface="Arial"/>
                <a:ea typeface="+mn-ea"/>
                <a:cs typeface="+mn-cs"/>
              </a:rPr>
              <a:t>Uppvidinge</a:t>
            </a:r>
            <a:r>
              <a:rPr kumimoji="0" lang="sv-SE" sz="1400" b="0" i="0" u="none" strike="noStrike" kern="1200" cap="none" spc="0" normalizeH="0" baseline="0" noProof="0" dirty="0">
                <a:ln>
                  <a:noFill/>
                </a:ln>
                <a:solidFill>
                  <a:prstClr val="black"/>
                </a:solidFill>
                <a:effectLst/>
                <a:uLnTx/>
                <a:uFillTx/>
                <a:latin typeface="Arial"/>
                <a:ea typeface="+mn-ea"/>
                <a:cs typeface="+mn-cs"/>
              </a:rPr>
              <a:t> kommun</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Vännäs kommun </a:t>
            </a:r>
            <a:endParaRPr kumimoji="0" lang="sv-SE" sz="1400" b="0" i="0" u="none" strike="noStrike" kern="1200" cap="none" spc="0" normalizeH="0" baseline="0" noProof="0" dirty="0">
              <a:ln>
                <a:noFill/>
              </a:ln>
              <a:solidFill>
                <a:prstClr val="black"/>
              </a:solidFill>
              <a:effectLst/>
              <a:uLnTx/>
              <a:uFillTx/>
              <a:latin typeface="Arial"/>
              <a:ea typeface="+mn-ea"/>
              <a:cs typeface="Arial"/>
            </a:endParaRPr>
          </a:p>
        </p:txBody>
      </p:sp>
      <p:pic>
        <p:nvPicPr>
          <p:cNvPr id="12" name="Bildobjekt 11">
            <a:extLst>
              <a:ext uri="{FF2B5EF4-FFF2-40B4-BE49-F238E27FC236}">
                <a16:creationId xmlns:a16="http://schemas.microsoft.com/office/drawing/2014/main" id="{B4856BDA-0A1A-D7FE-D5C5-29CD1FC7D06A}"/>
              </a:ext>
            </a:extLst>
          </p:cNvPr>
          <p:cNvPicPr>
            <a:picLocks noChangeAspect="1"/>
          </p:cNvPicPr>
          <p:nvPr/>
        </p:nvPicPr>
        <p:blipFill>
          <a:blip r:embed="rId3"/>
          <a:stretch>
            <a:fillRect/>
          </a:stretch>
        </p:blipFill>
        <p:spPr>
          <a:xfrm>
            <a:off x="455295" y="2392362"/>
            <a:ext cx="6953250" cy="3590925"/>
          </a:xfrm>
          <a:prstGeom prst="rect">
            <a:avLst/>
          </a:prstGeom>
        </p:spPr>
      </p:pic>
      <p:sp>
        <p:nvSpPr>
          <p:cNvPr id="13" name="Platshållare för datum 12">
            <a:extLst>
              <a:ext uri="{FF2B5EF4-FFF2-40B4-BE49-F238E27FC236}">
                <a16:creationId xmlns:a16="http://schemas.microsoft.com/office/drawing/2014/main" id="{06675DF0-9551-04B1-B633-5AE5D53813F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3827C37-B313-41FB-8095-54D8B0D47774}" type="datetime1">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10-1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Platshållare för sidfot 13">
            <a:extLst>
              <a:ext uri="{FF2B5EF4-FFF2-40B4-BE49-F238E27FC236}">
                <a16:creationId xmlns:a16="http://schemas.microsoft.com/office/drawing/2014/main" id="{3B92C563-DF37-4F07-0567-B8BC3CFF144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Platshållare för bildnummer 14">
            <a:extLst>
              <a:ext uri="{FF2B5EF4-FFF2-40B4-BE49-F238E27FC236}">
                <a16:creationId xmlns:a16="http://schemas.microsoft.com/office/drawing/2014/main" id="{C906D032-D346-1D3C-C016-6AA5A6F38E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81151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01F93999-08CE-41FA-883E-1669D7EB9E7B}"/>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KL PPT Röd">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1AA3F3F2-E1F6-4BDC-9014-4C60F25729FC}"/>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A02260FF-F8BB-40F7-ADC8-3E0340951A3A}"/>
    </a:ext>
  </a:extLst>
</a:theme>
</file>

<file path=ppt/theme/theme4.xml><?xml version="1.0" encoding="utf-8"?>
<a:theme xmlns:a="http://schemas.openxmlformats.org/drawingml/2006/main" name="SKL PPT Mörk">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EDDBDDDF-3891-42A2-AB83-82AAAD6634BA}"/>
    </a:ext>
  </a:extLst>
</a:theme>
</file>

<file path=ppt/theme/theme5.xml><?xml version="1.0" encoding="utf-8"?>
<a:theme xmlns:a="http://schemas.openxmlformats.org/drawingml/2006/main" name="SKL PPT Svar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D2379710-E034-4836-B277-CA16D73A5516}"/>
    </a:ext>
  </a:extLst>
</a:theme>
</file>

<file path=ppt/theme/theme6.xml><?xml version="1.0" encoding="utf-8"?>
<a:theme xmlns:a="http://schemas.openxmlformats.org/drawingml/2006/main" name="SKL PPT Vi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6ABA7A87-D65F-407C-944F-2403548ED770}"/>
    </a:ext>
  </a:extLst>
</a:theme>
</file>

<file path=ppt/theme/theme7.xml><?xml version="1.0" encoding="utf-8"?>
<a:theme xmlns:a="http://schemas.openxmlformats.org/drawingml/2006/main" name="1_SKL PPT Röd">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1AA3F3F2-E1F6-4BDC-9014-4C60F25729FC}"/>
    </a:ext>
  </a:extLst>
</a:theme>
</file>

<file path=ppt/theme/theme8.xml><?xml version="1.0" encoding="utf-8"?>
<a:theme xmlns:a="http://schemas.openxmlformats.org/drawingml/2006/main" name="5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ppt/theme/theme9.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EC5BD669-B808-43D7-A840-7CCC150A1FAC}" vid="{A02260FF-F8BB-40F7-ADC8-3E0340951A3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7A7BA1582E593841BBD1B0B2B78E6F5F" ma:contentTypeVersion="2" ma:contentTypeDescription="Skapa ett nytt dokument." ma:contentTypeScope="" ma:versionID="d4baa276416b3116939fc8e3b15157d2">
  <xsd:schema xmlns:xsd="http://www.w3.org/2001/XMLSchema" xmlns:xs="http://www.w3.org/2001/XMLSchema" xmlns:p="http://schemas.microsoft.com/office/2006/metadata/properties" xmlns:ns2="af9b82fd-bfdc-4181-a204-e623554e49e7" targetNamespace="http://schemas.microsoft.com/office/2006/metadata/properties" ma:root="true" ma:fieldsID="b1dbe32e354da759c11f5f85ef55cf20" ns2:_="">
    <xsd:import namespace="af9b82fd-bfdc-4181-a204-e623554e49e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9b82fd-bfdc-4181-a204-e623554e49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EDF193E-878D-4275-B13F-FF8B00D19F8A}">
  <ds:schemaRefs>
    <ds:schemaRef ds:uri="http://schemas.microsoft.com/office/infopath/2007/PartnerControls"/>
    <ds:schemaRef ds:uri="http://purl.org/dc/elements/1.1/"/>
    <ds:schemaRef ds:uri="http://schemas.microsoft.com/office/2006/metadata/properties"/>
    <ds:schemaRef ds:uri="af9b82fd-bfdc-4181-a204-e623554e49e7"/>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A52C8A4A-7A9E-44B0-94E2-F6F4B5981D5C}">
  <ds:schemaRefs>
    <ds:schemaRef ds:uri="http://schemas.microsoft.com/sharepoint/v3/contenttype/forms"/>
  </ds:schemaRefs>
</ds:datastoreItem>
</file>

<file path=customXml/itemProps3.xml><?xml version="1.0" encoding="utf-8"?>
<ds:datastoreItem xmlns:ds="http://schemas.openxmlformats.org/officeDocument/2006/customXml" ds:itemID="{B41DFFF8-5A1D-4CFD-B976-963A170187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f9b82fd-bfdc-4181-a204-e623554e49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KR</Template>
  <TotalTime>497</TotalTime>
  <Words>2982</Words>
  <Application>Microsoft Office PowerPoint</Application>
  <PresentationFormat>Bredbild</PresentationFormat>
  <Paragraphs>360</Paragraphs>
  <Slides>26</Slides>
  <Notes>23</Notes>
  <HiddenSlides>3</HiddenSlides>
  <MMClips>0</MMClips>
  <ScaleCrop>false</ScaleCrop>
  <HeadingPairs>
    <vt:vector size="8" baseType="variant">
      <vt:variant>
        <vt:lpstr>Använt teckensnitt</vt:lpstr>
      </vt:variant>
      <vt:variant>
        <vt:i4>10</vt:i4>
      </vt:variant>
      <vt:variant>
        <vt:lpstr>Tema</vt:lpstr>
      </vt:variant>
      <vt:variant>
        <vt:i4>9</vt:i4>
      </vt:variant>
      <vt:variant>
        <vt:lpstr>Serverprogram för OLE-inbäddning</vt:lpstr>
      </vt:variant>
      <vt:variant>
        <vt:i4>1</vt:i4>
      </vt:variant>
      <vt:variant>
        <vt:lpstr>Bildrubriker</vt:lpstr>
      </vt:variant>
      <vt:variant>
        <vt:i4>26</vt:i4>
      </vt:variant>
    </vt:vector>
  </HeadingPairs>
  <TitlesOfParts>
    <vt:vector size="46" baseType="lpstr">
      <vt:lpstr>MS Gothic</vt:lpstr>
      <vt:lpstr>Arial</vt:lpstr>
      <vt:lpstr>Arial</vt:lpstr>
      <vt:lpstr>BauWebPro</vt:lpstr>
      <vt:lpstr>Calibri</vt:lpstr>
      <vt:lpstr>Circular</vt:lpstr>
      <vt:lpstr>Segoe UI</vt:lpstr>
      <vt:lpstr>Symbol</vt:lpstr>
      <vt:lpstr>Times New Roman</vt:lpstr>
      <vt:lpstr>Wingdings</vt:lpstr>
      <vt:lpstr>SKL PPT Gul</vt:lpstr>
      <vt:lpstr>SKL PPT Röd</vt:lpstr>
      <vt:lpstr>Inledningsbilder</vt:lpstr>
      <vt:lpstr>SKL PPT Mörk</vt:lpstr>
      <vt:lpstr>SKL PPT Svart</vt:lpstr>
      <vt:lpstr>SKL PPT Vit</vt:lpstr>
      <vt:lpstr>1_SKL PPT Röd</vt:lpstr>
      <vt:lpstr>5_SKL PPT Gul</vt:lpstr>
      <vt:lpstr>1_Inledningsbilder</vt:lpstr>
      <vt:lpstr>think-cell Slide</vt:lpstr>
      <vt:lpstr>Information om SKR:s pågående undersökning om socionomprogrammet </vt:lpstr>
      <vt:lpstr>Syfte med dagens informationsstund</vt:lpstr>
      <vt:lpstr>Syfte med undersökningen</vt:lpstr>
      <vt:lpstr>Mål 2023</vt:lpstr>
      <vt:lpstr>Upplägg och aktiviteter</vt:lpstr>
      <vt:lpstr>Nuläge undersökningen</vt:lpstr>
      <vt:lpstr>Tidplan förankring av resultat och fortsatt planering av vad SKR särskilt vill lyfta 2024</vt:lpstr>
      <vt:lpstr>Fokusgrupperna</vt:lpstr>
      <vt:lpstr>Ca 50 första linjens chefer/arbetsledare deltog vid 5 fokusgrupper, från 14 kommuner</vt:lpstr>
      <vt:lpstr>Avgränsningar</vt:lpstr>
      <vt:lpstr>PowerPoint-presentation</vt:lpstr>
      <vt:lpstr>Behov som har synliggjorts i fokusgrupperna</vt:lpstr>
      <vt:lpstr>Sammanfattning </vt:lpstr>
      <vt:lpstr>Sammanfattning i sin enkelhet</vt:lpstr>
      <vt:lpstr>Behov av kunskap och färdigheter som idag uppfylls </vt:lpstr>
      <vt:lpstr>PowerPoint-presentation</vt:lpstr>
      <vt:lpstr>Fokusgrupperna uttrycker nöjdhet kring…   Kunskap och färdigheter som delvis uppfylls idag av nuvarande socionomprogram och som bör bibehållas</vt:lpstr>
      <vt:lpstr>Undersökningen fokuserar på socionomprogrammet - grundnivån</vt:lpstr>
      <vt:lpstr>Exempel på faktorer som kan påverka en socionoms förutsättning att arbeta inom socialtjänsten och att stanna kvar i yrket</vt:lpstr>
      <vt:lpstr>Studentens ”profil”</vt:lpstr>
      <vt:lpstr>Högskolans ansvar och högskolelag och högskoleförordning med bilaga</vt:lpstr>
      <vt:lpstr>Exempel på faktorer som arbetsgivare kan påverka under och efter grundutbildning för socionomer</vt:lpstr>
      <vt:lpstr>Förslag och dialog</vt:lpstr>
      <vt:lpstr>Förslagen kommer troligen att rikta sig till olika huvudmän (och vissa förslag till flera av dem) </vt:lpstr>
      <vt:lpstr>När förslagen börjar bli klara…</vt:lpstr>
      <vt:lpstr>Frågor?  Helena.wiklund@skr.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R:s undersökning om socionomprogrammet</dc:title>
  <dc:creator>Wiklund Helena</dc:creator>
  <cp:lastModifiedBy>Mårtensson Tanja /Ledningsstöd och strategi Hälso- och sjukvård Dalarna /Falun</cp:lastModifiedBy>
  <cp:revision>59</cp:revision>
  <dcterms:created xsi:type="dcterms:W3CDTF">2023-06-09T08:37:10Z</dcterms:created>
  <dcterms:modified xsi:type="dcterms:W3CDTF">2023-10-12T12:5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7BA1582E593841BBD1B0B2B78E6F5F</vt:lpwstr>
  </property>
</Properties>
</file>